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4.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4.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5.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6.xml" ContentType="application/vnd.openxmlformats-officedocument.presentationml.notesSlide+xml"/>
  <Override PartName="/ppt/tags/tag30.xml" ContentType="application/vnd.openxmlformats-officedocument.presentationml.tags+xml"/>
  <Override PartName="/ppt/tags/tag31.xml" ContentType="application/vnd.openxmlformats-officedocument.presentationml.tags+xml"/>
  <Override PartName="/ppt/notesSlides/notesSlide7.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notesSlides/notesSlide8.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9.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10.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notesSlides/notesSlide11.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notesSlides/notesSlide12.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notesSlides/notesSlide13.xml" ContentType="application/vnd.openxmlformats-officedocument.presentationml.notesSlide+xml"/>
  <Override PartName="/ppt/tags/tag44.xml" ContentType="application/vnd.openxmlformats-officedocument.presentationml.tags+xml"/>
  <Override PartName="/ppt/tags/tag45.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66" r:id="rId3"/>
  </p:sldMasterIdLst>
  <p:notesMasterIdLst>
    <p:notesMasterId r:id="rId23"/>
  </p:notesMasterIdLst>
  <p:sldIdLst>
    <p:sldId id="5689" r:id="rId4"/>
    <p:sldId id="2147482040" r:id="rId5"/>
    <p:sldId id="2147482018" r:id="rId6"/>
    <p:sldId id="2147478111" r:id="rId7"/>
    <p:sldId id="2147482043" r:id="rId8"/>
    <p:sldId id="2147482044" r:id="rId9"/>
    <p:sldId id="2147482045" r:id="rId10"/>
    <p:sldId id="2147482046" r:id="rId11"/>
    <p:sldId id="2147482042" r:id="rId12"/>
    <p:sldId id="2147482050" r:id="rId13"/>
    <p:sldId id="2147482055" r:id="rId14"/>
    <p:sldId id="2147478116" r:id="rId15"/>
    <p:sldId id="2147482048" r:id="rId16"/>
    <p:sldId id="2147482051" r:id="rId17"/>
    <p:sldId id="2147482052" r:id="rId18"/>
    <p:sldId id="2147482054" r:id="rId19"/>
    <p:sldId id="2147482053" r:id="rId20"/>
    <p:sldId id="2147478203" r:id="rId21"/>
    <p:sldId id="308" r:id="rId2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2576"/>
    <a:srgbClr val="85C3E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2B8197D-CE10-42AA-A416-727EA647D1B9}" v="46" dt="2025-04-03T00:27:41.98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987" autoAdjust="0"/>
    <p:restoredTop sz="66902" autoAdjust="0"/>
  </p:normalViewPr>
  <p:slideViewPr>
    <p:cSldViewPr snapToGrid="0">
      <p:cViewPr>
        <p:scale>
          <a:sx n="49" d="100"/>
          <a:sy n="49" d="100"/>
        </p:scale>
        <p:origin x="1300" y="24"/>
      </p:cViewPr>
      <p:guideLst/>
    </p:cSldViewPr>
  </p:slideViewPr>
  <p:notesTextViewPr>
    <p:cViewPr>
      <p:scale>
        <a:sx n="1" d="1"/>
        <a:sy n="1" d="1"/>
      </p:scale>
      <p:origin x="0" y="0"/>
    </p:cViewPr>
  </p:notesTextViewPr>
  <p:sorterViewPr>
    <p:cViewPr>
      <p:scale>
        <a:sx n="100" d="100"/>
        <a:sy n="100" d="100"/>
      </p:scale>
      <p:origin x="0" y="-9424"/>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5.xml"/><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18.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presProps" Target="pres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notesMaster" Target="notesMasters/notesMaster1.xml"/><Relationship Id="rId28" Type="http://schemas.microsoft.com/office/2016/11/relationships/changesInfo" Target="changesInfos/changesInfo1.xml"/><Relationship Id="rId10" Type="http://schemas.openxmlformats.org/officeDocument/2006/relationships/slide" Target="slides/slide7.xml"/><Relationship Id="rId19" Type="http://schemas.openxmlformats.org/officeDocument/2006/relationships/slide" Target="slides/slide16.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arah Snoeyink (MEDC)" userId="0f4ce6d3-f4dc-4b79-b9f6-d3e1e3e94a71" providerId="ADAL" clId="{9EE5BC34-EAB0-4A87-B94C-A3ABA01E060E}"/>
    <pc:docChg chg="undo redo custSel addSld delSld modSld sldOrd">
      <pc:chgData name="Sarah Snoeyink (MEDC)" userId="0f4ce6d3-f4dc-4b79-b9f6-d3e1e3e94a71" providerId="ADAL" clId="{9EE5BC34-EAB0-4A87-B94C-A3ABA01E060E}" dt="2024-06-25T19:26:32.061" v="6056" actId="47"/>
      <pc:docMkLst>
        <pc:docMk/>
      </pc:docMkLst>
      <pc:sldChg chg="del">
        <pc:chgData name="Sarah Snoeyink (MEDC)" userId="0f4ce6d3-f4dc-4b79-b9f6-d3e1e3e94a71" providerId="ADAL" clId="{9EE5BC34-EAB0-4A87-B94C-A3ABA01E060E}" dt="2024-06-25T17:03:06.843" v="414" actId="47"/>
        <pc:sldMkLst>
          <pc:docMk/>
          <pc:sldMk cId="4047211498" sldId="256"/>
        </pc:sldMkLst>
      </pc:sldChg>
      <pc:sldChg chg="modSp add del mod">
        <pc:chgData name="Sarah Snoeyink (MEDC)" userId="0f4ce6d3-f4dc-4b79-b9f6-d3e1e3e94a71" providerId="ADAL" clId="{9EE5BC34-EAB0-4A87-B94C-A3ABA01E060E}" dt="2024-06-25T17:35:07.534" v="2756" actId="47"/>
        <pc:sldMkLst>
          <pc:docMk/>
          <pc:sldMk cId="718185473" sldId="279"/>
        </pc:sldMkLst>
      </pc:sldChg>
      <pc:sldChg chg="addSp delSp modSp del mod">
        <pc:chgData name="Sarah Snoeyink (MEDC)" userId="0f4ce6d3-f4dc-4b79-b9f6-d3e1e3e94a71" providerId="ADAL" clId="{9EE5BC34-EAB0-4A87-B94C-A3ABA01E060E}" dt="2024-06-25T17:22:09.039" v="1903" actId="47"/>
        <pc:sldMkLst>
          <pc:docMk/>
          <pc:sldMk cId="3928905165" sldId="283"/>
        </pc:sldMkLst>
      </pc:sldChg>
      <pc:sldChg chg="addSp delSp modSp del mod">
        <pc:chgData name="Sarah Snoeyink (MEDC)" userId="0f4ce6d3-f4dc-4b79-b9f6-d3e1e3e94a71" providerId="ADAL" clId="{9EE5BC34-EAB0-4A87-B94C-A3ABA01E060E}" dt="2024-06-25T17:22:40.636" v="1917" actId="47"/>
        <pc:sldMkLst>
          <pc:docMk/>
          <pc:sldMk cId="2101435629" sldId="287"/>
        </pc:sldMkLst>
      </pc:sldChg>
      <pc:sldChg chg="del">
        <pc:chgData name="Sarah Snoeyink (MEDC)" userId="0f4ce6d3-f4dc-4b79-b9f6-d3e1e3e94a71" providerId="ADAL" clId="{9EE5BC34-EAB0-4A87-B94C-A3ABA01E060E}" dt="2024-06-25T17:23:52.763" v="1980" actId="47"/>
        <pc:sldMkLst>
          <pc:docMk/>
          <pc:sldMk cId="1291782022" sldId="288"/>
        </pc:sldMkLst>
      </pc:sldChg>
      <pc:sldChg chg="modSp del mod">
        <pc:chgData name="Sarah Snoeyink (MEDC)" userId="0f4ce6d3-f4dc-4b79-b9f6-d3e1e3e94a71" providerId="ADAL" clId="{9EE5BC34-EAB0-4A87-B94C-A3ABA01E060E}" dt="2024-06-25T17:22:55.786" v="1923" actId="47"/>
        <pc:sldMkLst>
          <pc:docMk/>
          <pc:sldMk cId="4046268310" sldId="291"/>
        </pc:sldMkLst>
      </pc:sldChg>
      <pc:sldChg chg="modSp del mod">
        <pc:chgData name="Sarah Snoeyink (MEDC)" userId="0f4ce6d3-f4dc-4b79-b9f6-d3e1e3e94a71" providerId="ADAL" clId="{9EE5BC34-EAB0-4A87-B94C-A3ABA01E060E}" dt="2024-06-25T17:24:06.847" v="2002" actId="47"/>
        <pc:sldMkLst>
          <pc:docMk/>
          <pc:sldMk cId="4093807911" sldId="292"/>
        </pc:sldMkLst>
      </pc:sldChg>
      <pc:sldChg chg="add del mod modShow">
        <pc:chgData name="Sarah Snoeyink (MEDC)" userId="0f4ce6d3-f4dc-4b79-b9f6-d3e1e3e94a71" providerId="ADAL" clId="{9EE5BC34-EAB0-4A87-B94C-A3ABA01E060E}" dt="2024-06-25T17:17:12.687" v="1782" actId="47"/>
        <pc:sldMkLst>
          <pc:docMk/>
          <pc:sldMk cId="2515853626" sldId="305"/>
        </pc:sldMkLst>
      </pc:sldChg>
      <pc:sldChg chg="add del">
        <pc:chgData name="Sarah Snoeyink (MEDC)" userId="0f4ce6d3-f4dc-4b79-b9f6-d3e1e3e94a71" providerId="ADAL" clId="{9EE5BC34-EAB0-4A87-B94C-A3ABA01E060E}" dt="2024-06-25T17:25:36.942" v="2012" actId="47"/>
        <pc:sldMkLst>
          <pc:docMk/>
          <pc:sldMk cId="776867107" sldId="313"/>
        </pc:sldMkLst>
      </pc:sldChg>
      <pc:sldChg chg="add del">
        <pc:chgData name="Sarah Snoeyink (MEDC)" userId="0f4ce6d3-f4dc-4b79-b9f6-d3e1e3e94a71" providerId="ADAL" clId="{9EE5BC34-EAB0-4A87-B94C-A3ABA01E060E}" dt="2024-06-25T17:25:54.914" v="2022" actId="47"/>
        <pc:sldMkLst>
          <pc:docMk/>
          <pc:sldMk cId="2287130542" sldId="314"/>
        </pc:sldMkLst>
      </pc:sldChg>
      <pc:sldChg chg="add del">
        <pc:chgData name="Sarah Snoeyink (MEDC)" userId="0f4ce6d3-f4dc-4b79-b9f6-d3e1e3e94a71" providerId="ADAL" clId="{9EE5BC34-EAB0-4A87-B94C-A3ABA01E060E}" dt="2024-06-25T17:26:45.002" v="2035" actId="47"/>
        <pc:sldMkLst>
          <pc:docMk/>
          <pc:sldMk cId="3236371834" sldId="315"/>
        </pc:sldMkLst>
      </pc:sldChg>
      <pc:sldChg chg="addSp delSp modSp add mod">
        <pc:chgData name="Sarah Snoeyink (MEDC)" userId="0f4ce6d3-f4dc-4b79-b9f6-d3e1e3e94a71" providerId="ADAL" clId="{9EE5BC34-EAB0-4A87-B94C-A3ABA01E060E}" dt="2024-06-25T17:35:26.458" v="2760" actId="478"/>
        <pc:sldMkLst>
          <pc:docMk/>
          <pc:sldMk cId="2005613804" sldId="786"/>
        </pc:sldMkLst>
      </pc:sldChg>
      <pc:sldChg chg="modSp add del mod">
        <pc:chgData name="Sarah Snoeyink (MEDC)" userId="0f4ce6d3-f4dc-4b79-b9f6-d3e1e3e94a71" providerId="ADAL" clId="{9EE5BC34-EAB0-4A87-B94C-A3ABA01E060E}" dt="2024-06-25T17:37:14.365" v="2787" actId="47"/>
        <pc:sldMkLst>
          <pc:docMk/>
          <pc:sldMk cId="1606350507" sldId="790"/>
        </pc:sldMkLst>
      </pc:sldChg>
      <pc:sldChg chg="modSp mod">
        <pc:chgData name="Sarah Snoeyink (MEDC)" userId="0f4ce6d3-f4dc-4b79-b9f6-d3e1e3e94a71" providerId="ADAL" clId="{9EE5BC34-EAB0-4A87-B94C-A3ABA01E060E}" dt="2024-06-25T17:02:58.045" v="413" actId="13926"/>
        <pc:sldMkLst>
          <pc:docMk/>
          <pc:sldMk cId="1167455443" sldId="5689"/>
        </pc:sldMkLst>
      </pc:sldChg>
      <pc:sldChg chg="modSp add del mod">
        <pc:chgData name="Sarah Snoeyink (MEDC)" userId="0f4ce6d3-f4dc-4b79-b9f6-d3e1e3e94a71" providerId="ADAL" clId="{9EE5BC34-EAB0-4A87-B94C-A3ABA01E060E}" dt="2024-06-25T16:53:55.950" v="2" actId="47"/>
        <pc:sldMkLst>
          <pc:docMk/>
          <pc:sldMk cId="3683328141" sldId="5805"/>
        </pc:sldMkLst>
      </pc:sldChg>
      <pc:sldChg chg="delSp modSp add del mod">
        <pc:chgData name="Sarah Snoeyink (MEDC)" userId="0f4ce6d3-f4dc-4b79-b9f6-d3e1e3e94a71" providerId="ADAL" clId="{9EE5BC34-EAB0-4A87-B94C-A3ABA01E060E}" dt="2024-06-25T17:37:31.486" v="2795" actId="47"/>
        <pc:sldMkLst>
          <pc:docMk/>
          <pc:sldMk cId="279921972" sldId="5806"/>
        </pc:sldMkLst>
      </pc:sldChg>
      <pc:sldChg chg="addSp delSp add del mod">
        <pc:chgData name="Sarah Snoeyink (MEDC)" userId="0f4ce6d3-f4dc-4b79-b9f6-d3e1e3e94a71" providerId="ADAL" clId="{9EE5BC34-EAB0-4A87-B94C-A3ABA01E060E}" dt="2024-06-25T17:36:54.127" v="2779" actId="47"/>
        <pc:sldMkLst>
          <pc:docMk/>
          <pc:sldMk cId="939010940" sldId="5820"/>
        </pc:sldMkLst>
      </pc:sldChg>
      <pc:sldChg chg="delSp add del mod">
        <pc:chgData name="Sarah Snoeyink (MEDC)" userId="0f4ce6d3-f4dc-4b79-b9f6-d3e1e3e94a71" providerId="ADAL" clId="{9EE5BC34-EAB0-4A87-B94C-A3ABA01E060E}" dt="2024-06-25T17:38:06.460" v="2829" actId="47"/>
        <pc:sldMkLst>
          <pc:docMk/>
          <pc:sldMk cId="3526188529" sldId="5821"/>
        </pc:sldMkLst>
      </pc:sldChg>
      <pc:sldChg chg="delSp modSp add del mod">
        <pc:chgData name="Sarah Snoeyink (MEDC)" userId="0f4ce6d3-f4dc-4b79-b9f6-d3e1e3e94a71" providerId="ADAL" clId="{9EE5BC34-EAB0-4A87-B94C-A3ABA01E060E}" dt="2024-06-25T17:37:45.239" v="2801" actId="47"/>
        <pc:sldMkLst>
          <pc:docMk/>
          <pc:sldMk cId="1592536715" sldId="5829"/>
        </pc:sldMkLst>
      </pc:sldChg>
      <pc:sldChg chg="modSp add mod">
        <pc:chgData name="Sarah Snoeyink (MEDC)" userId="0f4ce6d3-f4dc-4b79-b9f6-d3e1e3e94a71" providerId="ADAL" clId="{9EE5BC34-EAB0-4A87-B94C-A3ABA01E060E}" dt="2024-06-25T17:35:33.792" v="2761" actId="108"/>
        <pc:sldMkLst>
          <pc:docMk/>
          <pc:sldMk cId="4161996128" sldId="5830"/>
        </pc:sldMkLst>
      </pc:sldChg>
      <pc:sldChg chg="add">
        <pc:chgData name="Sarah Snoeyink (MEDC)" userId="0f4ce6d3-f4dc-4b79-b9f6-d3e1e3e94a71" providerId="ADAL" clId="{9EE5BC34-EAB0-4A87-B94C-A3ABA01E060E}" dt="2024-06-25T16:54:35.222" v="7"/>
        <pc:sldMkLst>
          <pc:docMk/>
          <pc:sldMk cId="1933339879" sldId="5839"/>
        </pc:sldMkLst>
      </pc:sldChg>
      <pc:sldChg chg="add del">
        <pc:chgData name="Sarah Snoeyink (MEDC)" userId="0f4ce6d3-f4dc-4b79-b9f6-d3e1e3e94a71" providerId="ADAL" clId="{9EE5BC34-EAB0-4A87-B94C-A3ABA01E060E}" dt="2024-06-25T18:41:01.804" v="5693" actId="47"/>
        <pc:sldMkLst>
          <pc:docMk/>
          <pc:sldMk cId="293250037" sldId="5860"/>
        </pc:sldMkLst>
      </pc:sldChg>
      <pc:sldChg chg="addSp delSp modSp del mod ord modNotesTx">
        <pc:chgData name="Sarah Snoeyink (MEDC)" userId="0f4ce6d3-f4dc-4b79-b9f6-d3e1e3e94a71" providerId="ADAL" clId="{9EE5BC34-EAB0-4A87-B94C-A3ABA01E060E}" dt="2024-06-25T17:31:49.441" v="2489" actId="47"/>
        <pc:sldMkLst>
          <pc:docMk/>
          <pc:sldMk cId="2962986176" sldId="2147478110"/>
        </pc:sldMkLst>
      </pc:sldChg>
      <pc:sldChg chg="add del">
        <pc:chgData name="Sarah Snoeyink (MEDC)" userId="0f4ce6d3-f4dc-4b79-b9f6-d3e1e3e94a71" providerId="ADAL" clId="{9EE5BC34-EAB0-4A87-B94C-A3ABA01E060E}" dt="2024-06-25T18:40:06.046" v="5681" actId="47"/>
        <pc:sldMkLst>
          <pc:docMk/>
          <pc:sldMk cId="230693319" sldId="2147478111"/>
        </pc:sldMkLst>
      </pc:sldChg>
      <pc:sldChg chg="addSp delSp modSp add del mod">
        <pc:chgData name="Sarah Snoeyink (MEDC)" userId="0f4ce6d3-f4dc-4b79-b9f6-d3e1e3e94a71" providerId="ADAL" clId="{9EE5BC34-EAB0-4A87-B94C-A3ABA01E060E}" dt="2024-06-25T17:38:22.036" v="2830" actId="47"/>
        <pc:sldMkLst>
          <pc:docMk/>
          <pc:sldMk cId="4183904777" sldId="2147478112"/>
        </pc:sldMkLst>
      </pc:sldChg>
      <pc:sldChg chg="addSp delSp modSp add mod modNotesTx">
        <pc:chgData name="Sarah Snoeyink (MEDC)" userId="0f4ce6d3-f4dc-4b79-b9f6-d3e1e3e94a71" providerId="ADAL" clId="{9EE5BC34-EAB0-4A87-B94C-A3ABA01E060E}" dt="2024-06-25T19:21:38.917" v="6055" actId="20577"/>
        <pc:sldMkLst>
          <pc:docMk/>
          <pc:sldMk cId="4133804596" sldId="2147478113"/>
        </pc:sldMkLst>
      </pc:sldChg>
      <pc:sldChg chg="modSp add mod modNotesTx">
        <pc:chgData name="Sarah Snoeyink (MEDC)" userId="0f4ce6d3-f4dc-4b79-b9f6-d3e1e3e94a71" providerId="ADAL" clId="{9EE5BC34-EAB0-4A87-B94C-A3ABA01E060E}" dt="2024-06-25T17:57:38.559" v="5234" actId="20577"/>
        <pc:sldMkLst>
          <pc:docMk/>
          <pc:sldMk cId="2800361780" sldId="2147478114"/>
        </pc:sldMkLst>
      </pc:sldChg>
      <pc:sldChg chg="addSp delSp modSp add mod modNotesTx">
        <pc:chgData name="Sarah Snoeyink (MEDC)" userId="0f4ce6d3-f4dc-4b79-b9f6-d3e1e3e94a71" providerId="ADAL" clId="{9EE5BC34-EAB0-4A87-B94C-A3ABA01E060E}" dt="2024-06-25T17:17:11.540" v="1781"/>
        <pc:sldMkLst>
          <pc:docMk/>
          <pc:sldMk cId="1907484427" sldId="2147478115"/>
        </pc:sldMkLst>
      </pc:sldChg>
      <pc:sldChg chg="addSp delSp modSp add mod modNotesTx">
        <pc:chgData name="Sarah Snoeyink (MEDC)" userId="0f4ce6d3-f4dc-4b79-b9f6-d3e1e3e94a71" providerId="ADAL" clId="{9EE5BC34-EAB0-4A87-B94C-A3ABA01E060E}" dt="2024-06-25T17:57:51.059" v="5283" actId="115"/>
        <pc:sldMkLst>
          <pc:docMk/>
          <pc:sldMk cId="209748856" sldId="2147478116"/>
        </pc:sldMkLst>
      </pc:sldChg>
      <pc:sldChg chg="add del">
        <pc:chgData name="Sarah Snoeyink (MEDC)" userId="0f4ce6d3-f4dc-4b79-b9f6-d3e1e3e94a71" providerId="ADAL" clId="{9EE5BC34-EAB0-4A87-B94C-A3ABA01E060E}" dt="2024-06-25T17:19:23.659" v="1812"/>
        <pc:sldMkLst>
          <pc:docMk/>
          <pc:sldMk cId="2960498472" sldId="2147478117"/>
        </pc:sldMkLst>
      </pc:sldChg>
      <pc:sldChg chg="addSp delSp modSp add mod modNotesTx">
        <pc:chgData name="Sarah Snoeyink (MEDC)" userId="0f4ce6d3-f4dc-4b79-b9f6-d3e1e3e94a71" providerId="ADAL" clId="{9EE5BC34-EAB0-4A87-B94C-A3ABA01E060E}" dt="2024-06-25T17:34:24.378" v="2719" actId="1076"/>
        <pc:sldMkLst>
          <pc:docMk/>
          <pc:sldMk cId="4244373558" sldId="2147478117"/>
        </pc:sldMkLst>
      </pc:sldChg>
      <pc:sldChg chg="addSp delSp modSp add mod">
        <pc:chgData name="Sarah Snoeyink (MEDC)" userId="0f4ce6d3-f4dc-4b79-b9f6-d3e1e3e94a71" providerId="ADAL" clId="{9EE5BC34-EAB0-4A87-B94C-A3ABA01E060E}" dt="2024-06-25T17:23:15.159" v="1943" actId="20577"/>
        <pc:sldMkLst>
          <pc:docMk/>
          <pc:sldMk cId="682805680" sldId="2147478118"/>
        </pc:sldMkLst>
      </pc:sldChg>
      <pc:sldChg chg="modSp add del mod">
        <pc:chgData name="Sarah Snoeyink (MEDC)" userId="0f4ce6d3-f4dc-4b79-b9f6-d3e1e3e94a71" providerId="ADAL" clId="{9EE5BC34-EAB0-4A87-B94C-A3ABA01E060E}" dt="2024-06-25T17:23:52.005" v="1979" actId="47"/>
        <pc:sldMkLst>
          <pc:docMk/>
          <pc:sldMk cId="3518134475" sldId="2147478119"/>
        </pc:sldMkLst>
      </pc:sldChg>
      <pc:sldChg chg="modSp add mod">
        <pc:chgData name="Sarah Snoeyink (MEDC)" userId="0f4ce6d3-f4dc-4b79-b9f6-d3e1e3e94a71" providerId="ADAL" clId="{9EE5BC34-EAB0-4A87-B94C-A3ABA01E060E}" dt="2024-06-25T17:23:50.152" v="1978"/>
        <pc:sldMkLst>
          <pc:docMk/>
          <pc:sldMk cId="4024628160" sldId="2147478120"/>
        </pc:sldMkLst>
      </pc:sldChg>
      <pc:sldChg chg="modSp add mod">
        <pc:chgData name="Sarah Snoeyink (MEDC)" userId="0f4ce6d3-f4dc-4b79-b9f6-d3e1e3e94a71" providerId="ADAL" clId="{9EE5BC34-EAB0-4A87-B94C-A3ABA01E060E}" dt="2024-06-25T17:23:32.451" v="1971" actId="20577"/>
        <pc:sldMkLst>
          <pc:docMk/>
          <pc:sldMk cId="2156000964" sldId="2147478121"/>
        </pc:sldMkLst>
      </pc:sldChg>
      <pc:sldChg chg="modSp add del mod">
        <pc:chgData name="Sarah Snoeyink (MEDC)" userId="0f4ce6d3-f4dc-4b79-b9f6-d3e1e3e94a71" providerId="ADAL" clId="{9EE5BC34-EAB0-4A87-B94C-A3ABA01E060E}" dt="2024-06-25T17:34:30.153" v="2720" actId="47"/>
        <pc:sldMkLst>
          <pc:docMk/>
          <pc:sldMk cId="1893536087" sldId="2147478122"/>
        </pc:sldMkLst>
      </pc:sldChg>
      <pc:sldChg chg="modSp add mod">
        <pc:chgData name="Sarah Snoeyink (MEDC)" userId="0f4ce6d3-f4dc-4b79-b9f6-d3e1e3e94a71" providerId="ADAL" clId="{9EE5BC34-EAB0-4A87-B94C-A3ABA01E060E}" dt="2024-06-25T17:26:56.452" v="2040" actId="1076"/>
        <pc:sldMkLst>
          <pc:docMk/>
          <pc:sldMk cId="3911896854" sldId="2147478123"/>
        </pc:sldMkLst>
      </pc:sldChg>
      <pc:sldChg chg="addSp delSp modSp add mod">
        <pc:chgData name="Sarah Snoeyink (MEDC)" userId="0f4ce6d3-f4dc-4b79-b9f6-d3e1e3e94a71" providerId="ADAL" clId="{9EE5BC34-EAB0-4A87-B94C-A3ABA01E060E}" dt="2024-06-25T17:25:51.923" v="2020" actId="1076"/>
        <pc:sldMkLst>
          <pc:docMk/>
          <pc:sldMk cId="3689728218" sldId="2147478124"/>
        </pc:sldMkLst>
      </pc:sldChg>
      <pc:sldChg chg="addSp delSp modSp add mod">
        <pc:chgData name="Sarah Snoeyink (MEDC)" userId="0f4ce6d3-f4dc-4b79-b9f6-d3e1e3e94a71" providerId="ADAL" clId="{9EE5BC34-EAB0-4A87-B94C-A3ABA01E060E}" dt="2024-06-25T17:26:42.517" v="2034" actId="1076"/>
        <pc:sldMkLst>
          <pc:docMk/>
          <pc:sldMk cId="961972597" sldId="2147478125"/>
        </pc:sldMkLst>
      </pc:sldChg>
      <pc:sldChg chg="addSp delSp modSp add mod modNotesTx">
        <pc:chgData name="Sarah Snoeyink (MEDC)" userId="0f4ce6d3-f4dc-4b79-b9f6-d3e1e3e94a71" providerId="ADAL" clId="{9EE5BC34-EAB0-4A87-B94C-A3ABA01E060E}" dt="2024-06-25T17:35:06.243" v="2755"/>
        <pc:sldMkLst>
          <pc:docMk/>
          <pc:sldMk cId="1032633938" sldId="2147478126"/>
        </pc:sldMkLst>
      </pc:sldChg>
      <pc:sldChg chg="delSp modSp add del mod modNotesTx">
        <pc:chgData name="Sarah Snoeyink (MEDC)" userId="0f4ce6d3-f4dc-4b79-b9f6-d3e1e3e94a71" providerId="ADAL" clId="{9EE5BC34-EAB0-4A87-B94C-A3ABA01E060E}" dt="2024-06-25T17:34:01.518" v="2668" actId="47"/>
        <pc:sldMkLst>
          <pc:docMk/>
          <pc:sldMk cId="3196753297" sldId="2147478127"/>
        </pc:sldMkLst>
      </pc:sldChg>
      <pc:sldChg chg="addSp delSp modSp add mod ord modNotesTx">
        <pc:chgData name="Sarah Snoeyink (MEDC)" userId="0f4ce6d3-f4dc-4b79-b9f6-d3e1e3e94a71" providerId="ADAL" clId="{9EE5BC34-EAB0-4A87-B94C-A3ABA01E060E}" dt="2024-06-25T17:58:08.127" v="5369" actId="5793"/>
        <pc:sldMkLst>
          <pc:docMk/>
          <pc:sldMk cId="518395050" sldId="2147478128"/>
        </pc:sldMkLst>
      </pc:sldChg>
      <pc:sldChg chg="addSp delSp modSp add mod">
        <pc:chgData name="Sarah Snoeyink (MEDC)" userId="0f4ce6d3-f4dc-4b79-b9f6-d3e1e3e94a71" providerId="ADAL" clId="{9EE5BC34-EAB0-4A87-B94C-A3ABA01E060E}" dt="2024-06-25T17:34:19.259" v="2718" actId="1076"/>
        <pc:sldMkLst>
          <pc:docMk/>
          <pc:sldMk cId="2205159552" sldId="2147478129"/>
        </pc:sldMkLst>
      </pc:sldChg>
      <pc:sldChg chg="addSp delSp modSp add mod">
        <pc:chgData name="Sarah Snoeyink (MEDC)" userId="0f4ce6d3-f4dc-4b79-b9f6-d3e1e3e94a71" providerId="ADAL" clId="{9EE5BC34-EAB0-4A87-B94C-A3ABA01E060E}" dt="2024-06-25T17:50:31.978" v="3478" actId="20577"/>
        <pc:sldMkLst>
          <pc:docMk/>
          <pc:sldMk cId="2040653514" sldId="2147478130"/>
        </pc:sldMkLst>
      </pc:sldChg>
      <pc:sldChg chg="addSp delSp modSp add mod ord">
        <pc:chgData name="Sarah Snoeyink (MEDC)" userId="0f4ce6d3-f4dc-4b79-b9f6-d3e1e3e94a71" providerId="ADAL" clId="{9EE5BC34-EAB0-4A87-B94C-A3ABA01E060E}" dt="2024-06-25T18:40:35.890" v="5688" actId="20578"/>
        <pc:sldMkLst>
          <pc:docMk/>
          <pc:sldMk cId="764819686" sldId="2147478131"/>
        </pc:sldMkLst>
      </pc:sldChg>
      <pc:sldChg chg="addSp delSp modSp add mod modNotesTx">
        <pc:chgData name="Sarah Snoeyink (MEDC)" userId="0f4ce6d3-f4dc-4b79-b9f6-d3e1e3e94a71" providerId="ADAL" clId="{9EE5BC34-EAB0-4A87-B94C-A3ABA01E060E}" dt="2024-06-25T17:37:12.492" v="2786"/>
        <pc:sldMkLst>
          <pc:docMk/>
          <pc:sldMk cId="1907006740" sldId="2147478132"/>
        </pc:sldMkLst>
      </pc:sldChg>
      <pc:sldChg chg="addSp delSp modSp add mod modNotesTx">
        <pc:chgData name="Sarah Snoeyink (MEDC)" userId="0f4ce6d3-f4dc-4b79-b9f6-d3e1e3e94a71" providerId="ADAL" clId="{9EE5BC34-EAB0-4A87-B94C-A3ABA01E060E}" dt="2024-06-25T17:37:30.611" v="2794"/>
        <pc:sldMkLst>
          <pc:docMk/>
          <pc:sldMk cId="1256773815" sldId="2147478133"/>
        </pc:sldMkLst>
      </pc:sldChg>
      <pc:sldChg chg="addSp delSp modSp add mod modNotesTx">
        <pc:chgData name="Sarah Snoeyink (MEDC)" userId="0f4ce6d3-f4dc-4b79-b9f6-d3e1e3e94a71" providerId="ADAL" clId="{9EE5BC34-EAB0-4A87-B94C-A3ABA01E060E}" dt="2024-06-25T17:43:24.899" v="2873" actId="1076"/>
        <pc:sldMkLst>
          <pc:docMk/>
          <pc:sldMk cId="4047030179" sldId="2147478134"/>
        </pc:sldMkLst>
      </pc:sldChg>
      <pc:sldChg chg="addSp delSp modSp add mod modNotesTx">
        <pc:chgData name="Sarah Snoeyink (MEDC)" userId="0f4ce6d3-f4dc-4b79-b9f6-d3e1e3e94a71" providerId="ADAL" clId="{9EE5BC34-EAB0-4A87-B94C-A3ABA01E060E}" dt="2024-06-25T17:37:59.130" v="2828" actId="20577"/>
        <pc:sldMkLst>
          <pc:docMk/>
          <pc:sldMk cId="427367397" sldId="2147478135"/>
        </pc:sldMkLst>
      </pc:sldChg>
      <pc:sldChg chg="addSp delSp modSp add mod modNotesTx">
        <pc:chgData name="Sarah Snoeyink (MEDC)" userId="0f4ce6d3-f4dc-4b79-b9f6-d3e1e3e94a71" providerId="ADAL" clId="{9EE5BC34-EAB0-4A87-B94C-A3ABA01E060E}" dt="2024-06-25T18:41:46.019" v="5703" actId="947"/>
        <pc:sldMkLst>
          <pc:docMk/>
          <pc:sldMk cId="884784445" sldId="2147478136"/>
        </pc:sldMkLst>
      </pc:sldChg>
      <pc:sldChg chg="modSp add del mod">
        <pc:chgData name="Sarah Snoeyink (MEDC)" userId="0f4ce6d3-f4dc-4b79-b9f6-d3e1e3e94a71" providerId="ADAL" clId="{9EE5BC34-EAB0-4A87-B94C-A3ABA01E060E}" dt="2024-06-25T19:26:32.061" v="6056" actId="47"/>
        <pc:sldMkLst>
          <pc:docMk/>
          <pc:sldMk cId="3824449813" sldId="2147478137"/>
        </pc:sldMkLst>
      </pc:sldChg>
      <pc:sldChg chg="modSp add mod modNotesTx">
        <pc:chgData name="Sarah Snoeyink (MEDC)" userId="0f4ce6d3-f4dc-4b79-b9f6-d3e1e3e94a71" providerId="ADAL" clId="{9EE5BC34-EAB0-4A87-B94C-A3ABA01E060E}" dt="2024-06-25T17:55:06.189" v="4831" actId="20577"/>
        <pc:sldMkLst>
          <pc:docMk/>
          <pc:sldMk cId="3490200912" sldId="2147478138"/>
        </pc:sldMkLst>
      </pc:sldChg>
      <pc:sldChg chg="addSp delSp modSp add mod ord">
        <pc:chgData name="Sarah Snoeyink (MEDC)" userId="0f4ce6d3-f4dc-4b79-b9f6-d3e1e3e94a71" providerId="ADAL" clId="{9EE5BC34-EAB0-4A87-B94C-A3ABA01E060E}" dt="2024-06-25T19:13:56.745" v="6042" actId="1035"/>
        <pc:sldMkLst>
          <pc:docMk/>
          <pc:sldMk cId="4252316730" sldId="2147478139"/>
        </pc:sldMkLst>
      </pc:sldChg>
      <pc:sldChg chg="add del ord modNotesTx">
        <pc:chgData name="Sarah Snoeyink (MEDC)" userId="0f4ce6d3-f4dc-4b79-b9f6-d3e1e3e94a71" providerId="ADAL" clId="{9EE5BC34-EAB0-4A87-B94C-A3ABA01E060E}" dt="2024-06-25T18:58:39.115" v="5943"/>
        <pc:sldMkLst>
          <pc:docMk/>
          <pc:sldMk cId="2262742677" sldId="2147478202"/>
        </pc:sldMkLst>
      </pc:sldChg>
      <pc:sldChg chg="add del">
        <pc:chgData name="Sarah Snoeyink (MEDC)" userId="0f4ce6d3-f4dc-4b79-b9f6-d3e1e3e94a71" providerId="ADAL" clId="{9EE5BC34-EAB0-4A87-B94C-A3ABA01E060E}" dt="2024-06-25T18:57:17.305" v="5904"/>
        <pc:sldMkLst>
          <pc:docMk/>
          <pc:sldMk cId="1481197353" sldId="2147478203"/>
        </pc:sldMkLst>
      </pc:sldChg>
      <pc:sldChg chg="add">
        <pc:chgData name="Sarah Snoeyink (MEDC)" userId="0f4ce6d3-f4dc-4b79-b9f6-d3e1e3e94a71" providerId="ADAL" clId="{9EE5BC34-EAB0-4A87-B94C-A3ABA01E060E}" dt="2024-06-25T18:41:33.401" v="5702"/>
        <pc:sldMkLst>
          <pc:docMk/>
          <pc:sldMk cId="897645718" sldId="2147478205"/>
        </pc:sldMkLst>
      </pc:sldChg>
      <pc:sldChg chg="add del">
        <pc:chgData name="Sarah Snoeyink (MEDC)" userId="0f4ce6d3-f4dc-4b79-b9f6-d3e1e3e94a71" providerId="ADAL" clId="{9EE5BC34-EAB0-4A87-B94C-A3ABA01E060E}" dt="2024-06-25T18:57:17.305" v="5904"/>
        <pc:sldMkLst>
          <pc:docMk/>
          <pc:sldMk cId="2166460129" sldId="2147478241"/>
        </pc:sldMkLst>
      </pc:sldChg>
      <pc:sldChg chg="delSp add setBg delDesignElem">
        <pc:chgData name="Sarah Snoeyink (MEDC)" userId="0f4ce6d3-f4dc-4b79-b9f6-d3e1e3e94a71" providerId="ADAL" clId="{9EE5BC34-EAB0-4A87-B94C-A3ABA01E060E}" dt="2024-06-25T18:40:04.157" v="5680"/>
        <pc:sldMkLst>
          <pc:docMk/>
          <pc:sldMk cId="437306742" sldId="2147482040"/>
        </pc:sldMkLst>
      </pc:sldChg>
      <pc:sldChg chg="add">
        <pc:chgData name="Sarah Snoeyink (MEDC)" userId="0f4ce6d3-f4dc-4b79-b9f6-d3e1e3e94a71" providerId="ADAL" clId="{9EE5BC34-EAB0-4A87-B94C-A3ABA01E060E}" dt="2024-06-25T18:40:04.157" v="5680"/>
        <pc:sldMkLst>
          <pc:docMk/>
          <pc:sldMk cId="2005315226" sldId="2147482041"/>
        </pc:sldMkLst>
      </pc:sldChg>
      <pc:sldChg chg="modSp add mod ord">
        <pc:chgData name="Sarah Snoeyink (MEDC)" userId="0f4ce6d3-f4dc-4b79-b9f6-d3e1e3e94a71" providerId="ADAL" clId="{9EE5BC34-EAB0-4A87-B94C-A3ABA01E060E}" dt="2024-06-25T18:58:49.080" v="5968" actId="20577"/>
        <pc:sldMkLst>
          <pc:docMk/>
          <pc:sldMk cId="1237096849" sldId="2147482042"/>
        </pc:sldMkLst>
      </pc:sldChg>
      <pc:sldMasterChg chg="delSldLayout">
        <pc:chgData name="Sarah Snoeyink (MEDC)" userId="0f4ce6d3-f4dc-4b79-b9f6-d3e1e3e94a71" providerId="ADAL" clId="{9EE5BC34-EAB0-4A87-B94C-A3ABA01E060E}" dt="2024-06-25T17:38:06.460" v="2829" actId="47"/>
        <pc:sldMasterMkLst>
          <pc:docMk/>
          <pc:sldMasterMk cId="3342523242" sldId="2147483648"/>
        </pc:sldMasterMkLst>
        <pc:sldLayoutChg chg="del">
          <pc:chgData name="Sarah Snoeyink (MEDC)" userId="0f4ce6d3-f4dc-4b79-b9f6-d3e1e3e94a71" providerId="ADAL" clId="{9EE5BC34-EAB0-4A87-B94C-A3ABA01E060E}" dt="2024-06-25T16:53:55.950" v="2" actId="47"/>
          <pc:sldLayoutMkLst>
            <pc:docMk/>
            <pc:sldMasterMk cId="3342523242" sldId="2147483648"/>
            <pc:sldLayoutMk cId="31992399" sldId="2147483660"/>
          </pc:sldLayoutMkLst>
        </pc:sldLayoutChg>
        <pc:sldLayoutChg chg="del">
          <pc:chgData name="Sarah Snoeyink (MEDC)" userId="0f4ce6d3-f4dc-4b79-b9f6-d3e1e3e94a71" providerId="ADAL" clId="{9EE5BC34-EAB0-4A87-B94C-A3ABA01E060E}" dt="2024-06-25T17:37:45.239" v="2801" actId="47"/>
          <pc:sldLayoutMkLst>
            <pc:docMk/>
            <pc:sldMasterMk cId="3342523242" sldId="2147483648"/>
            <pc:sldLayoutMk cId="299749441" sldId="2147483660"/>
          </pc:sldLayoutMkLst>
        </pc:sldLayoutChg>
        <pc:sldLayoutChg chg="del">
          <pc:chgData name="Sarah Snoeyink (MEDC)" userId="0f4ce6d3-f4dc-4b79-b9f6-d3e1e3e94a71" providerId="ADAL" clId="{9EE5BC34-EAB0-4A87-B94C-A3ABA01E060E}" dt="2024-06-25T17:38:06.460" v="2829" actId="47"/>
          <pc:sldLayoutMkLst>
            <pc:docMk/>
            <pc:sldMasterMk cId="3342523242" sldId="2147483648"/>
            <pc:sldLayoutMk cId="1040916536" sldId="2147483661"/>
          </pc:sldLayoutMkLst>
        </pc:sldLayoutChg>
      </pc:sldMasterChg>
    </pc:docChg>
  </pc:docChgLst>
  <pc:docChgLst>
    <pc:chgData name="Sarah Snoeyink (MEDC)" userId="0f4ce6d3-f4dc-4b79-b9f6-d3e1e3e94a71" providerId="ADAL" clId="{72B8197D-CE10-42AA-A416-727EA647D1B9}"/>
    <pc:docChg chg="undo redo custSel addSld delSld modSld sldOrd">
      <pc:chgData name="Sarah Snoeyink (MEDC)" userId="0f4ce6d3-f4dc-4b79-b9f6-d3e1e3e94a71" providerId="ADAL" clId="{72B8197D-CE10-42AA-A416-727EA647D1B9}" dt="2025-04-03T00:36:19.500" v="3640" actId="6549"/>
      <pc:docMkLst>
        <pc:docMk/>
      </pc:docMkLst>
      <pc:sldChg chg="del">
        <pc:chgData name="Sarah Snoeyink (MEDC)" userId="0f4ce6d3-f4dc-4b79-b9f6-d3e1e3e94a71" providerId="ADAL" clId="{72B8197D-CE10-42AA-A416-727EA647D1B9}" dt="2025-04-03T00:00:10.822" v="2166" actId="47"/>
        <pc:sldMkLst>
          <pc:docMk/>
          <pc:sldMk cId="2853889012" sldId="284"/>
        </pc:sldMkLst>
      </pc:sldChg>
      <pc:sldChg chg="del">
        <pc:chgData name="Sarah Snoeyink (MEDC)" userId="0f4ce6d3-f4dc-4b79-b9f6-d3e1e3e94a71" providerId="ADAL" clId="{72B8197D-CE10-42AA-A416-727EA647D1B9}" dt="2025-04-02T23:32:42.069" v="21" actId="47"/>
        <pc:sldMkLst>
          <pc:docMk/>
          <pc:sldMk cId="2005613804" sldId="786"/>
        </pc:sldMkLst>
      </pc:sldChg>
      <pc:sldChg chg="modSp mod">
        <pc:chgData name="Sarah Snoeyink (MEDC)" userId="0f4ce6d3-f4dc-4b79-b9f6-d3e1e3e94a71" providerId="ADAL" clId="{72B8197D-CE10-42AA-A416-727EA647D1B9}" dt="2025-04-02T23:31:44.238" v="20" actId="20577"/>
        <pc:sldMkLst>
          <pc:docMk/>
          <pc:sldMk cId="1167455443" sldId="5689"/>
        </pc:sldMkLst>
        <pc:spChg chg="mod">
          <ac:chgData name="Sarah Snoeyink (MEDC)" userId="0f4ce6d3-f4dc-4b79-b9f6-d3e1e3e94a71" providerId="ADAL" clId="{72B8197D-CE10-42AA-A416-727EA647D1B9}" dt="2025-04-02T23:31:44.238" v="20" actId="20577"/>
          <ac:spMkLst>
            <pc:docMk/>
            <pc:sldMk cId="1167455443" sldId="5689"/>
            <ac:spMk id="3" creationId="{06375ED4-D417-C9EB-04B9-6163A043D964}"/>
          </ac:spMkLst>
        </pc:spChg>
      </pc:sldChg>
      <pc:sldChg chg="del">
        <pc:chgData name="Sarah Snoeyink (MEDC)" userId="0f4ce6d3-f4dc-4b79-b9f6-d3e1e3e94a71" providerId="ADAL" clId="{72B8197D-CE10-42AA-A416-727EA647D1B9}" dt="2025-04-02T23:32:42.069" v="21" actId="47"/>
        <pc:sldMkLst>
          <pc:docMk/>
          <pc:sldMk cId="4161996128" sldId="5830"/>
        </pc:sldMkLst>
      </pc:sldChg>
      <pc:sldChg chg="del">
        <pc:chgData name="Sarah Snoeyink (MEDC)" userId="0f4ce6d3-f4dc-4b79-b9f6-d3e1e3e94a71" providerId="ADAL" clId="{72B8197D-CE10-42AA-A416-727EA647D1B9}" dt="2025-04-02T23:32:42.069" v="21" actId="47"/>
        <pc:sldMkLst>
          <pc:docMk/>
          <pc:sldMk cId="1933339879" sldId="5839"/>
        </pc:sldMkLst>
      </pc:sldChg>
      <pc:sldChg chg="add ord modNotesTx">
        <pc:chgData name="Sarah Snoeyink (MEDC)" userId="0f4ce6d3-f4dc-4b79-b9f6-d3e1e3e94a71" providerId="ADAL" clId="{72B8197D-CE10-42AA-A416-727EA647D1B9}" dt="2025-04-03T00:30:08.046" v="3573" actId="20577"/>
        <pc:sldMkLst>
          <pc:docMk/>
          <pc:sldMk cId="3684839799" sldId="2147478111"/>
        </pc:sldMkLst>
      </pc:sldChg>
      <pc:sldChg chg="del">
        <pc:chgData name="Sarah Snoeyink (MEDC)" userId="0f4ce6d3-f4dc-4b79-b9f6-d3e1e3e94a71" providerId="ADAL" clId="{72B8197D-CE10-42AA-A416-727EA647D1B9}" dt="2025-04-03T00:16:38.046" v="2750" actId="47"/>
        <pc:sldMkLst>
          <pc:docMk/>
          <pc:sldMk cId="4133804596" sldId="2147478113"/>
        </pc:sldMkLst>
      </pc:sldChg>
      <pc:sldChg chg="del">
        <pc:chgData name="Sarah Snoeyink (MEDC)" userId="0f4ce6d3-f4dc-4b79-b9f6-d3e1e3e94a71" providerId="ADAL" clId="{72B8197D-CE10-42AA-A416-727EA647D1B9}" dt="2025-04-03T00:11:28.391" v="2481" actId="47"/>
        <pc:sldMkLst>
          <pc:docMk/>
          <pc:sldMk cId="2800361780" sldId="2147478114"/>
        </pc:sldMkLst>
      </pc:sldChg>
      <pc:sldChg chg="modSp del mod ord">
        <pc:chgData name="Sarah Snoeyink (MEDC)" userId="0f4ce6d3-f4dc-4b79-b9f6-d3e1e3e94a71" providerId="ADAL" clId="{72B8197D-CE10-42AA-A416-727EA647D1B9}" dt="2025-04-03T00:16:49.932" v="2755" actId="47"/>
        <pc:sldMkLst>
          <pc:docMk/>
          <pc:sldMk cId="1907484427" sldId="2147478115"/>
        </pc:sldMkLst>
        <pc:spChg chg="mod">
          <ac:chgData name="Sarah Snoeyink (MEDC)" userId="0f4ce6d3-f4dc-4b79-b9f6-d3e1e3e94a71" providerId="ADAL" clId="{72B8197D-CE10-42AA-A416-727EA647D1B9}" dt="2025-04-03T00:11:20.355" v="2480" actId="20577"/>
          <ac:spMkLst>
            <pc:docMk/>
            <pc:sldMk cId="1907484427" sldId="2147478115"/>
            <ac:spMk id="72" creationId="{835894EC-8F88-452D-B63E-C5530E4A3C6E}"/>
          </ac:spMkLst>
        </pc:spChg>
        <pc:picChg chg="mod">
          <ac:chgData name="Sarah Snoeyink (MEDC)" userId="0f4ce6d3-f4dc-4b79-b9f6-d3e1e3e94a71" providerId="ADAL" clId="{72B8197D-CE10-42AA-A416-727EA647D1B9}" dt="2025-04-03T00:04:11.293" v="2408" actId="12789"/>
          <ac:picMkLst>
            <pc:docMk/>
            <pc:sldMk cId="1907484427" sldId="2147478115"/>
            <ac:picMk id="7" creationId="{6FE97376-450F-3AE1-E250-466895350630}"/>
          </ac:picMkLst>
        </pc:picChg>
        <pc:picChg chg="mod">
          <ac:chgData name="Sarah Snoeyink (MEDC)" userId="0f4ce6d3-f4dc-4b79-b9f6-d3e1e3e94a71" providerId="ADAL" clId="{72B8197D-CE10-42AA-A416-727EA647D1B9}" dt="2025-04-03T00:04:11.293" v="2408" actId="12789"/>
          <ac:picMkLst>
            <pc:docMk/>
            <pc:sldMk cId="1907484427" sldId="2147478115"/>
            <ac:picMk id="8" creationId="{64C8593A-8BA0-460F-C603-125304894537}"/>
          </ac:picMkLst>
        </pc:picChg>
      </pc:sldChg>
      <pc:sldChg chg="modSp mod ord">
        <pc:chgData name="Sarah Snoeyink (MEDC)" userId="0f4ce6d3-f4dc-4b79-b9f6-d3e1e3e94a71" providerId="ADAL" clId="{72B8197D-CE10-42AA-A416-727EA647D1B9}" dt="2025-04-03T00:16:42.905" v="2752"/>
        <pc:sldMkLst>
          <pc:docMk/>
          <pc:sldMk cId="209748856" sldId="2147478116"/>
        </pc:sldMkLst>
        <pc:spChg chg="mod">
          <ac:chgData name="Sarah Snoeyink (MEDC)" userId="0f4ce6d3-f4dc-4b79-b9f6-d3e1e3e94a71" providerId="ADAL" clId="{72B8197D-CE10-42AA-A416-727EA647D1B9}" dt="2025-04-03T00:11:04.358" v="2476" actId="313"/>
          <ac:spMkLst>
            <pc:docMk/>
            <pc:sldMk cId="209748856" sldId="2147478116"/>
            <ac:spMk id="72" creationId="{835894EC-8F88-452D-B63E-C5530E4A3C6E}"/>
          </ac:spMkLst>
        </pc:spChg>
        <pc:picChg chg="mod">
          <ac:chgData name="Sarah Snoeyink (MEDC)" userId="0f4ce6d3-f4dc-4b79-b9f6-d3e1e3e94a71" providerId="ADAL" clId="{72B8197D-CE10-42AA-A416-727EA647D1B9}" dt="2025-04-02T23:58:17.909" v="2157" actId="14100"/>
          <ac:picMkLst>
            <pc:docMk/>
            <pc:sldMk cId="209748856" sldId="2147478116"/>
            <ac:picMk id="8" creationId="{3C08EB6E-194F-06AC-88E8-819701EB5018}"/>
          </ac:picMkLst>
        </pc:picChg>
        <pc:picChg chg="mod">
          <ac:chgData name="Sarah Snoeyink (MEDC)" userId="0f4ce6d3-f4dc-4b79-b9f6-d3e1e3e94a71" providerId="ADAL" clId="{72B8197D-CE10-42AA-A416-727EA647D1B9}" dt="2025-04-02T23:58:07.028" v="2153" actId="108"/>
          <ac:picMkLst>
            <pc:docMk/>
            <pc:sldMk cId="209748856" sldId="2147478116"/>
            <ac:picMk id="11" creationId="{DF66048F-0D09-A14C-50F4-9098C0F5C594}"/>
          </ac:picMkLst>
        </pc:picChg>
      </pc:sldChg>
      <pc:sldChg chg="del">
        <pc:chgData name="Sarah Snoeyink (MEDC)" userId="0f4ce6d3-f4dc-4b79-b9f6-d3e1e3e94a71" providerId="ADAL" clId="{72B8197D-CE10-42AA-A416-727EA647D1B9}" dt="2025-04-03T00:11:30.518" v="2484" actId="47"/>
        <pc:sldMkLst>
          <pc:docMk/>
          <pc:sldMk cId="4244373558" sldId="2147478117"/>
        </pc:sldMkLst>
      </pc:sldChg>
      <pc:sldChg chg="del">
        <pc:chgData name="Sarah Snoeyink (MEDC)" userId="0f4ce6d3-f4dc-4b79-b9f6-d3e1e3e94a71" providerId="ADAL" clId="{72B8197D-CE10-42AA-A416-727EA647D1B9}" dt="2025-04-03T00:11:31.745" v="2485" actId="47"/>
        <pc:sldMkLst>
          <pc:docMk/>
          <pc:sldMk cId="682805680" sldId="2147478118"/>
        </pc:sldMkLst>
      </pc:sldChg>
      <pc:sldChg chg="del">
        <pc:chgData name="Sarah Snoeyink (MEDC)" userId="0f4ce6d3-f4dc-4b79-b9f6-d3e1e3e94a71" providerId="ADAL" clId="{72B8197D-CE10-42AA-A416-727EA647D1B9}" dt="2025-04-03T00:11:32.280" v="2486" actId="47"/>
        <pc:sldMkLst>
          <pc:docMk/>
          <pc:sldMk cId="4024628160" sldId="2147478120"/>
        </pc:sldMkLst>
      </pc:sldChg>
      <pc:sldChg chg="del">
        <pc:chgData name="Sarah Snoeyink (MEDC)" userId="0f4ce6d3-f4dc-4b79-b9f6-d3e1e3e94a71" providerId="ADAL" clId="{72B8197D-CE10-42AA-A416-727EA647D1B9}" dt="2025-04-03T00:11:32.662" v="2487" actId="47"/>
        <pc:sldMkLst>
          <pc:docMk/>
          <pc:sldMk cId="2156000964" sldId="2147478121"/>
        </pc:sldMkLst>
      </pc:sldChg>
      <pc:sldChg chg="del">
        <pc:chgData name="Sarah Snoeyink (MEDC)" userId="0f4ce6d3-f4dc-4b79-b9f6-d3e1e3e94a71" providerId="ADAL" clId="{72B8197D-CE10-42AA-A416-727EA647D1B9}" dt="2025-04-03T00:11:33.051" v="2488" actId="47"/>
        <pc:sldMkLst>
          <pc:docMk/>
          <pc:sldMk cId="3911896854" sldId="2147478123"/>
        </pc:sldMkLst>
      </pc:sldChg>
      <pc:sldChg chg="del">
        <pc:chgData name="Sarah Snoeyink (MEDC)" userId="0f4ce6d3-f4dc-4b79-b9f6-d3e1e3e94a71" providerId="ADAL" clId="{72B8197D-CE10-42AA-A416-727EA647D1B9}" dt="2025-04-03T00:11:33.475" v="2489" actId="47"/>
        <pc:sldMkLst>
          <pc:docMk/>
          <pc:sldMk cId="3689728218" sldId="2147478124"/>
        </pc:sldMkLst>
      </pc:sldChg>
      <pc:sldChg chg="del">
        <pc:chgData name="Sarah Snoeyink (MEDC)" userId="0f4ce6d3-f4dc-4b79-b9f6-d3e1e3e94a71" providerId="ADAL" clId="{72B8197D-CE10-42AA-A416-727EA647D1B9}" dt="2025-04-03T00:11:34.592" v="2490" actId="47"/>
        <pc:sldMkLst>
          <pc:docMk/>
          <pc:sldMk cId="961972597" sldId="2147478125"/>
        </pc:sldMkLst>
      </pc:sldChg>
      <pc:sldChg chg="del">
        <pc:chgData name="Sarah Snoeyink (MEDC)" userId="0f4ce6d3-f4dc-4b79-b9f6-d3e1e3e94a71" providerId="ADAL" clId="{72B8197D-CE10-42AA-A416-727EA647D1B9}" dt="2025-04-02T23:32:42.069" v="21" actId="47"/>
        <pc:sldMkLst>
          <pc:docMk/>
          <pc:sldMk cId="1032633938" sldId="2147478126"/>
        </pc:sldMkLst>
      </pc:sldChg>
      <pc:sldChg chg="del">
        <pc:chgData name="Sarah Snoeyink (MEDC)" userId="0f4ce6d3-f4dc-4b79-b9f6-d3e1e3e94a71" providerId="ADAL" clId="{72B8197D-CE10-42AA-A416-727EA647D1B9}" dt="2025-04-03T00:11:29.178" v="2482" actId="47"/>
        <pc:sldMkLst>
          <pc:docMk/>
          <pc:sldMk cId="518395050" sldId="2147478128"/>
        </pc:sldMkLst>
      </pc:sldChg>
      <pc:sldChg chg="del">
        <pc:chgData name="Sarah Snoeyink (MEDC)" userId="0f4ce6d3-f4dc-4b79-b9f6-d3e1e3e94a71" providerId="ADAL" clId="{72B8197D-CE10-42AA-A416-727EA647D1B9}" dt="2025-04-03T00:11:29.793" v="2483" actId="47"/>
        <pc:sldMkLst>
          <pc:docMk/>
          <pc:sldMk cId="2205159552" sldId="2147478129"/>
        </pc:sldMkLst>
      </pc:sldChg>
      <pc:sldChg chg="del">
        <pc:chgData name="Sarah Snoeyink (MEDC)" userId="0f4ce6d3-f4dc-4b79-b9f6-d3e1e3e94a71" providerId="ADAL" clId="{72B8197D-CE10-42AA-A416-727EA647D1B9}" dt="2025-04-02T23:45:35.406" v="1248" actId="47"/>
        <pc:sldMkLst>
          <pc:docMk/>
          <pc:sldMk cId="2040653514" sldId="2147478130"/>
        </pc:sldMkLst>
      </pc:sldChg>
      <pc:sldChg chg="del">
        <pc:chgData name="Sarah Snoeyink (MEDC)" userId="0f4ce6d3-f4dc-4b79-b9f6-d3e1e3e94a71" providerId="ADAL" clId="{72B8197D-CE10-42AA-A416-727EA647D1B9}" dt="2025-04-02T23:32:42.069" v="21" actId="47"/>
        <pc:sldMkLst>
          <pc:docMk/>
          <pc:sldMk cId="764819686" sldId="2147478131"/>
        </pc:sldMkLst>
      </pc:sldChg>
      <pc:sldChg chg="del">
        <pc:chgData name="Sarah Snoeyink (MEDC)" userId="0f4ce6d3-f4dc-4b79-b9f6-d3e1e3e94a71" providerId="ADAL" clId="{72B8197D-CE10-42AA-A416-727EA647D1B9}" dt="2025-04-02T23:32:42.069" v="21" actId="47"/>
        <pc:sldMkLst>
          <pc:docMk/>
          <pc:sldMk cId="1907006740" sldId="2147478132"/>
        </pc:sldMkLst>
      </pc:sldChg>
      <pc:sldChg chg="del">
        <pc:chgData name="Sarah Snoeyink (MEDC)" userId="0f4ce6d3-f4dc-4b79-b9f6-d3e1e3e94a71" providerId="ADAL" clId="{72B8197D-CE10-42AA-A416-727EA647D1B9}" dt="2025-04-02T23:32:42.069" v="21" actId="47"/>
        <pc:sldMkLst>
          <pc:docMk/>
          <pc:sldMk cId="1256773815" sldId="2147478133"/>
        </pc:sldMkLst>
      </pc:sldChg>
      <pc:sldChg chg="del">
        <pc:chgData name="Sarah Snoeyink (MEDC)" userId="0f4ce6d3-f4dc-4b79-b9f6-d3e1e3e94a71" providerId="ADAL" clId="{72B8197D-CE10-42AA-A416-727EA647D1B9}" dt="2025-04-02T23:32:42.069" v="21" actId="47"/>
        <pc:sldMkLst>
          <pc:docMk/>
          <pc:sldMk cId="4047030179" sldId="2147478134"/>
        </pc:sldMkLst>
      </pc:sldChg>
      <pc:sldChg chg="del">
        <pc:chgData name="Sarah Snoeyink (MEDC)" userId="0f4ce6d3-f4dc-4b79-b9f6-d3e1e3e94a71" providerId="ADAL" clId="{72B8197D-CE10-42AA-A416-727EA647D1B9}" dt="2025-04-02T23:32:42.069" v="21" actId="47"/>
        <pc:sldMkLst>
          <pc:docMk/>
          <pc:sldMk cId="427367397" sldId="2147478135"/>
        </pc:sldMkLst>
      </pc:sldChg>
      <pc:sldChg chg="del">
        <pc:chgData name="Sarah Snoeyink (MEDC)" userId="0f4ce6d3-f4dc-4b79-b9f6-d3e1e3e94a71" providerId="ADAL" clId="{72B8197D-CE10-42AA-A416-727EA647D1B9}" dt="2025-04-02T23:32:42.069" v="21" actId="47"/>
        <pc:sldMkLst>
          <pc:docMk/>
          <pc:sldMk cId="884784445" sldId="2147478136"/>
        </pc:sldMkLst>
      </pc:sldChg>
      <pc:sldChg chg="del">
        <pc:chgData name="Sarah Snoeyink (MEDC)" userId="0f4ce6d3-f4dc-4b79-b9f6-d3e1e3e94a71" providerId="ADAL" clId="{72B8197D-CE10-42AA-A416-727EA647D1B9}" dt="2025-04-02T23:45:29.975" v="1247" actId="47"/>
        <pc:sldMkLst>
          <pc:docMk/>
          <pc:sldMk cId="3490200912" sldId="2147478138"/>
        </pc:sldMkLst>
      </pc:sldChg>
      <pc:sldChg chg="del">
        <pc:chgData name="Sarah Snoeyink (MEDC)" userId="0f4ce6d3-f4dc-4b79-b9f6-d3e1e3e94a71" providerId="ADAL" clId="{72B8197D-CE10-42AA-A416-727EA647D1B9}" dt="2025-04-03T00:11:35.605" v="2491" actId="47"/>
        <pc:sldMkLst>
          <pc:docMk/>
          <pc:sldMk cId="4252316730" sldId="2147478139"/>
        </pc:sldMkLst>
      </pc:sldChg>
      <pc:sldChg chg="del">
        <pc:chgData name="Sarah Snoeyink (MEDC)" userId="0f4ce6d3-f4dc-4b79-b9f6-d3e1e3e94a71" providerId="ADAL" clId="{72B8197D-CE10-42AA-A416-727EA647D1B9}" dt="2025-04-02T23:33:01.643" v="25" actId="47"/>
        <pc:sldMkLst>
          <pc:docMk/>
          <pc:sldMk cId="2262742677" sldId="2147478202"/>
        </pc:sldMkLst>
      </pc:sldChg>
      <pc:sldChg chg="delSp modSp mod ord modNotesTx">
        <pc:chgData name="Sarah Snoeyink (MEDC)" userId="0f4ce6d3-f4dc-4b79-b9f6-d3e1e3e94a71" providerId="ADAL" clId="{72B8197D-CE10-42AA-A416-727EA647D1B9}" dt="2025-04-03T00:35:31.844" v="3631" actId="20577"/>
        <pc:sldMkLst>
          <pc:docMk/>
          <pc:sldMk cId="1481197353" sldId="2147478203"/>
        </pc:sldMkLst>
        <pc:spChg chg="mod">
          <ac:chgData name="Sarah Snoeyink (MEDC)" userId="0f4ce6d3-f4dc-4b79-b9f6-d3e1e3e94a71" providerId="ADAL" clId="{72B8197D-CE10-42AA-A416-727EA647D1B9}" dt="2025-04-03T00:35:31.844" v="3631" actId="20577"/>
          <ac:spMkLst>
            <pc:docMk/>
            <pc:sldMk cId="1481197353" sldId="2147478203"/>
            <ac:spMk id="2" creationId="{9777BED8-4D0E-4848-BD8B-C5E2D16DB098}"/>
          </ac:spMkLst>
        </pc:spChg>
        <pc:spChg chg="mod">
          <ac:chgData name="Sarah Snoeyink (MEDC)" userId="0f4ce6d3-f4dc-4b79-b9f6-d3e1e3e94a71" providerId="ADAL" clId="{72B8197D-CE10-42AA-A416-727EA647D1B9}" dt="2025-04-03T00:24:36.201" v="3053" actId="2711"/>
          <ac:spMkLst>
            <pc:docMk/>
            <pc:sldMk cId="1481197353" sldId="2147478203"/>
            <ac:spMk id="5" creationId="{68F2E0F8-D3BD-17F2-C92B-01C20F4387DB}"/>
          </ac:spMkLst>
        </pc:spChg>
        <pc:grpChg chg="del">
          <ac:chgData name="Sarah Snoeyink (MEDC)" userId="0f4ce6d3-f4dc-4b79-b9f6-d3e1e3e94a71" providerId="ADAL" clId="{72B8197D-CE10-42AA-A416-727EA647D1B9}" dt="2025-04-03T00:23:27.230" v="3039" actId="478"/>
          <ac:grpSpMkLst>
            <pc:docMk/>
            <pc:sldMk cId="1481197353" sldId="2147478203"/>
            <ac:grpSpMk id="61" creationId="{2535344D-BDD7-51E6-43B8-0E17843BB2C8}"/>
          </ac:grpSpMkLst>
        </pc:grpChg>
      </pc:sldChg>
      <pc:sldChg chg="del">
        <pc:chgData name="Sarah Snoeyink (MEDC)" userId="0f4ce6d3-f4dc-4b79-b9f6-d3e1e3e94a71" providerId="ADAL" clId="{72B8197D-CE10-42AA-A416-727EA647D1B9}" dt="2025-04-02T23:32:51.212" v="23" actId="47"/>
        <pc:sldMkLst>
          <pc:docMk/>
          <pc:sldMk cId="897645718" sldId="2147478205"/>
        </pc:sldMkLst>
      </pc:sldChg>
      <pc:sldChg chg="del">
        <pc:chgData name="Sarah Snoeyink (MEDC)" userId="0f4ce6d3-f4dc-4b79-b9f6-d3e1e3e94a71" providerId="ADAL" clId="{72B8197D-CE10-42AA-A416-727EA647D1B9}" dt="2025-04-02T23:32:50.535" v="22" actId="47"/>
        <pc:sldMkLst>
          <pc:docMk/>
          <pc:sldMk cId="2166460129" sldId="2147478241"/>
        </pc:sldMkLst>
      </pc:sldChg>
      <pc:sldChg chg="add setBg">
        <pc:chgData name="Sarah Snoeyink (MEDC)" userId="0f4ce6d3-f4dc-4b79-b9f6-d3e1e3e94a71" providerId="ADAL" clId="{72B8197D-CE10-42AA-A416-727EA647D1B9}" dt="2025-04-02T23:59:54.637" v="2165"/>
        <pc:sldMkLst>
          <pc:docMk/>
          <pc:sldMk cId="3536483860" sldId="2147482018"/>
        </pc:sldMkLst>
      </pc:sldChg>
      <pc:sldChg chg="del mod modShow">
        <pc:chgData name="Sarah Snoeyink (MEDC)" userId="0f4ce6d3-f4dc-4b79-b9f6-d3e1e3e94a71" providerId="ADAL" clId="{72B8197D-CE10-42AA-A416-727EA647D1B9}" dt="2025-04-03T00:00:25.116" v="2168" actId="47"/>
        <pc:sldMkLst>
          <pc:docMk/>
          <pc:sldMk cId="2005315226" sldId="2147482041"/>
        </pc:sldMkLst>
      </pc:sldChg>
      <pc:sldChg chg="del">
        <pc:chgData name="Sarah Snoeyink (MEDC)" userId="0f4ce6d3-f4dc-4b79-b9f6-d3e1e3e94a71" providerId="ADAL" clId="{72B8197D-CE10-42AA-A416-727EA647D1B9}" dt="2025-04-02T23:32:56.922" v="24" actId="47"/>
        <pc:sldMkLst>
          <pc:docMk/>
          <pc:sldMk cId="1237096849" sldId="2147482042"/>
        </pc:sldMkLst>
      </pc:sldChg>
      <pc:sldChg chg="addSp delSp modSp add mod ord modNotesTx">
        <pc:chgData name="Sarah Snoeyink (MEDC)" userId="0f4ce6d3-f4dc-4b79-b9f6-d3e1e3e94a71" providerId="ADAL" clId="{72B8197D-CE10-42AA-A416-727EA647D1B9}" dt="2025-04-02T23:52:11.687" v="2058" actId="20577"/>
        <pc:sldMkLst>
          <pc:docMk/>
          <pc:sldMk cId="2724327263" sldId="2147482042"/>
        </pc:sldMkLst>
        <pc:spChg chg="mod">
          <ac:chgData name="Sarah Snoeyink (MEDC)" userId="0f4ce6d3-f4dc-4b79-b9f6-d3e1e3e94a71" providerId="ADAL" clId="{72B8197D-CE10-42AA-A416-727EA647D1B9}" dt="2025-04-02T23:52:11.687" v="2058" actId="20577"/>
          <ac:spMkLst>
            <pc:docMk/>
            <pc:sldMk cId="2724327263" sldId="2147482042"/>
            <ac:spMk id="72" creationId="{F1B0FD9D-EAAE-16DD-5F31-7EA21D0D5AB5}"/>
          </ac:spMkLst>
        </pc:spChg>
        <pc:grpChg chg="del">
          <ac:chgData name="Sarah Snoeyink (MEDC)" userId="0f4ce6d3-f4dc-4b79-b9f6-d3e1e3e94a71" providerId="ADAL" clId="{72B8197D-CE10-42AA-A416-727EA647D1B9}" dt="2025-04-02T23:35:09.612" v="29" actId="478"/>
          <ac:grpSpMkLst>
            <pc:docMk/>
            <pc:sldMk cId="2724327263" sldId="2147482042"/>
            <ac:grpSpMk id="13" creationId="{35B1A405-B4CD-37BD-B5BE-B0805C207AF9}"/>
          </ac:grpSpMkLst>
        </pc:grpChg>
        <pc:grpChg chg="del">
          <ac:chgData name="Sarah Snoeyink (MEDC)" userId="0f4ce6d3-f4dc-4b79-b9f6-d3e1e3e94a71" providerId="ADAL" clId="{72B8197D-CE10-42AA-A416-727EA647D1B9}" dt="2025-04-02T23:35:09.612" v="29" actId="478"/>
          <ac:grpSpMkLst>
            <pc:docMk/>
            <pc:sldMk cId="2724327263" sldId="2147482042"/>
            <ac:grpSpMk id="14" creationId="{17457F81-7996-C49B-2349-AB248AB68D57}"/>
          </ac:grpSpMkLst>
        </pc:grpChg>
        <pc:grpChg chg="del">
          <ac:chgData name="Sarah Snoeyink (MEDC)" userId="0f4ce6d3-f4dc-4b79-b9f6-d3e1e3e94a71" providerId="ADAL" clId="{72B8197D-CE10-42AA-A416-727EA647D1B9}" dt="2025-04-02T23:35:09.612" v="29" actId="478"/>
          <ac:grpSpMkLst>
            <pc:docMk/>
            <pc:sldMk cId="2724327263" sldId="2147482042"/>
            <ac:grpSpMk id="29" creationId="{2C1D1CF5-62E0-B14D-ABAC-9C04A0A8F835}"/>
          </ac:grpSpMkLst>
        </pc:grpChg>
        <pc:picChg chg="add mod">
          <ac:chgData name="Sarah Snoeyink (MEDC)" userId="0f4ce6d3-f4dc-4b79-b9f6-d3e1e3e94a71" providerId="ADAL" clId="{72B8197D-CE10-42AA-A416-727EA647D1B9}" dt="2025-04-02T23:35:18.570" v="33" actId="1076"/>
          <ac:picMkLst>
            <pc:docMk/>
            <pc:sldMk cId="2724327263" sldId="2147482042"/>
            <ac:picMk id="5" creationId="{9A395C71-3507-B768-E0ED-0B74E3796770}"/>
          </ac:picMkLst>
        </pc:picChg>
      </pc:sldChg>
      <pc:sldChg chg="modSp add mod ord modNotesTx">
        <pc:chgData name="Sarah Snoeyink (MEDC)" userId="0f4ce6d3-f4dc-4b79-b9f6-d3e1e3e94a71" providerId="ADAL" clId="{72B8197D-CE10-42AA-A416-727EA647D1B9}" dt="2025-04-03T00:30:21.743" v="3574" actId="2711"/>
        <pc:sldMkLst>
          <pc:docMk/>
          <pc:sldMk cId="2220525179" sldId="2147482043"/>
        </pc:sldMkLst>
        <pc:spChg chg="mod">
          <ac:chgData name="Sarah Snoeyink (MEDC)" userId="0f4ce6d3-f4dc-4b79-b9f6-d3e1e3e94a71" providerId="ADAL" clId="{72B8197D-CE10-42AA-A416-727EA647D1B9}" dt="2025-04-03T00:23:58.275" v="3049" actId="2711"/>
          <ac:spMkLst>
            <pc:docMk/>
            <pc:sldMk cId="2220525179" sldId="2147482043"/>
            <ac:spMk id="9" creationId="{2F73F1FA-1E5B-74CB-F24D-97F04E67153B}"/>
          </ac:spMkLst>
        </pc:spChg>
        <pc:spChg chg="mod">
          <ac:chgData name="Sarah Snoeyink (MEDC)" userId="0f4ce6d3-f4dc-4b79-b9f6-d3e1e3e94a71" providerId="ADAL" clId="{72B8197D-CE10-42AA-A416-727EA647D1B9}" dt="2025-04-03T00:30:21.743" v="3574" actId="2711"/>
          <ac:spMkLst>
            <pc:docMk/>
            <pc:sldMk cId="2220525179" sldId="2147482043"/>
            <ac:spMk id="26" creationId="{B2D359D6-7540-084C-5962-2BDE5584AE08}"/>
          </ac:spMkLst>
        </pc:spChg>
        <pc:spChg chg="mod">
          <ac:chgData name="Sarah Snoeyink (MEDC)" userId="0f4ce6d3-f4dc-4b79-b9f6-d3e1e3e94a71" providerId="ADAL" clId="{72B8197D-CE10-42AA-A416-727EA647D1B9}" dt="2025-04-03T00:30:21.743" v="3574" actId="2711"/>
          <ac:spMkLst>
            <pc:docMk/>
            <pc:sldMk cId="2220525179" sldId="2147482043"/>
            <ac:spMk id="30" creationId="{9441C039-C2CB-C751-158E-F23267E8A19A}"/>
          </ac:spMkLst>
        </pc:spChg>
        <pc:spChg chg="mod">
          <ac:chgData name="Sarah Snoeyink (MEDC)" userId="0f4ce6d3-f4dc-4b79-b9f6-d3e1e3e94a71" providerId="ADAL" clId="{72B8197D-CE10-42AA-A416-727EA647D1B9}" dt="2025-04-03T00:30:21.743" v="3574" actId="2711"/>
          <ac:spMkLst>
            <pc:docMk/>
            <pc:sldMk cId="2220525179" sldId="2147482043"/>
            <ac:spMk id="46" creationId="{198B26DD-3C3E-66D7-541E-F81E5FBC1145}"/>
          </ac:spMkLst>
        </pc:spChg>
        <pc:spChg chg="mod">
          <ac:chgData name="Sarah Snoeyink (MEDC)" userId="0f4ce6d3-f4dc-4b79-b9f6-d3e1e3e94a71" providerId="ADAL" clId="{72B8197D-CE10-42AA-A416-727EA647D1B9}" dt="2025-04-02T23:37:21.356" v="219" actId="6549"/>
          <ac:spMkLst>
            <pc:docMk/>
            <pc:sldMk cId="2220525179" sldId="2147482043"/>
            <ac:spMk id="72" creationId="{C23434E1-CA1E-D3CF-7815-6185D8DF158D}"/>
          </ac:spMkLst>
        </pc:spChg>
        <pc:grpChg chg="mod">
          <ac:chgData name="Sarah Snoeyink (MEDC)" userId="0f4ce6d3-f4dc-4b79-b9f6-d3e1e3e94a71" providerId="ADAL" clId="{72B8197D-CE10-42AA-A416-727EA647D1B9}" dt="2025-04-03T00:23:58.275" v="3049" actId="2711"/>
          <ac:grpSpMkLst>
            <pc:docMk/>
            <pc:sldMk cId="2220525179" sldId="2147482043"/>
            <ac:grpSpMk id="6" creationId="{932DFA08-FB01-0312-5E11-38BA9107AE17}"/>
          </ac:grpSpMkLst>
        </pc:grpChg>
        <pc:grpChg chg="mod">
          <ac:chgData name="Sarah Snoeyink (MEDC)" userId="0f4ce6d3-f4dc-4b79-b9f6-d3e1e3e94a71" providerId="ADAL" clId="{72B8197D-CE10-42AA-A416-727EA647D1B9}" dt="2025-04-03T00:23:58.275" v="3049" actId="2711"/>
          <ac:grpSpMkLst>
            <pc:docMk/>
            <pc:sldMk cId="2220525179" sldId="2147482043"/>
            <ac:grpSpMk id="13" creationId="{1A380456-CA45-0A4D-5CFE-C6C34B2F2D82}"/>
          </ac:grpSpMkLst>
        </pc:grpChg>
        <pc:grpChg chg="mod">
          <ac:chgData name="Sarah Snoeyink (MEDC)" userId="0f4ce6d3-f4dc-4b79-b9f6-d3e1e3e94a71" providerId="ADAL" clId="{72B8197D-CE10-42AA-A416-727EA647D1B9}" dt="2025-04-03T00:23:58.275" v="3049" actId="2711"/>
          <ac:grpSpMkLst>
            <pc:docMk/>
            <pc:sldMk cId="2220525179" sldId="2147482043"/>
            <ac:grpSpMk id="14" creationId="{2FDF8C24-6155-EF72-4F3F-E1F4B41805EB}"/>
          </ac:grpSpMkLst>
        </pc:grpChg>
        <pc:grpChg chg="mod">
          <ac:chgData name="Sarah Snoeyink (MEDC)" userId="0f4ce6d3-f4dc-4b79-b9f6-d3e1e3e94a71" providerId="ADAL" clId="{72B8197D-CE10-42AA-A416-727EA647D1B9}" dt="2025-04-03T00:23:58.275" v="3049" actId="2711"/>
          <ac:grpSpMkLst>
            <pc:docMk/>
            <pc:sldMk cId="2220525179" sldId="2147482043"/>
            <ac:grpSpMk id="29" creationId="{9CA0938F-324A-C5FF-51AC-20B6D13FD601}"/>
          </ac:grpSpMkLst>
        </pc:grpChg>
        <pc:grpChg chg="mod">
          <ac:chgData name="Sarah Snoeyink (MEDC)" userId="0f4ce6d3-f4dc-4b79-b9f6-d3e1e3e94a71" providerId="ADAL" clId="{72B8197D-CE10-42AA-A416-727EA647D1B9}" dt="2025-04-03T00:23:58.275" v="3049" actId="2711"/>
          <ac:grpSpMkLst>
            <pc:docMk/>
            <pc:sldMk cId="2220525179" sldId="2147482043"/>
            <ac:grpSpMk id="226" creationId="{D566420A-FA1B-99E2-A16A-752C22E38007}"/>
          </ac:grpSpMkLst>
        </pc:grpChg>
      </pc:sldChg>
      <pc:sldChg chg="addSp delSp modSp add mod">
        <pc:chgData name="Sarah Snoeyink (MEDC)" userId="0f4ce6d3-f4dc-4b79-b9f6-d3e1e3e94a71" providerId="ADAL" clId="{72B8197D-CE10-42AA-A416-727EA647D1B9}" dt="2025-04-03T00:30:45.551" v="3577" actId="20577"/>
        <pc:sldMkLst>
          <pc:docMk/>
          <pc:sldMk cId="526147250" sldId="2147482044"/>
        </pc:sldMkLst>
        <pc:spChg chg="add mod">
          <ac:chgData name="Sarah Snoeyink (MEDC)" userId="0f4ce6d3-f4dc-4b79-b9f6-d3e1e3e94a71" providerId="ADAL" clId="{72B8197D-CE10-42AA-A416-727EA647D1B9}" dt="2025-04-03T00:30:45.551" v="3577" actId="20577"/>
          <ac:spMkLst>
            <pc:docMk/>
            <pc:sldMk cId="526147250" sldId="2147482044"/>
            <ac:spMk id="2" creationId="{E53D393D-72AA-B015-8935-ECBD902A0A87}"/>
          </ac:spMkLst>
        </pc:spChg>
        <pc:grpChg chg="del">
          <ac:chgData name="Sarah Snoeyink (MEDC)" userId="0f4ce6d3-f4dc-4b79-b9f6-d3e1e3e94a71" providerId="ADAL" clId="{72B8197D-CE10-42AA-A416-727EA647D1B9}" dt="2025-04-02T23:37:49.884" v="227" actId="478"/>
          <ac:grpSpMkLst>
            <pc:docMk/>
            <pc:sldMk cId="526147250" sldId="2147482044"/>
            <ac:grpSpMk id="14" creationId="{23719774-EACC-F9A9-AAAF-1D665E800572}"/>
          </ac:grpSpMkLst>
        </pc:grpChg>
        <pc:grpChg chg="del">
          <ac:chgData name="Sarah Snoeyink (MEDC)" userId="0f4ce6d3-f4dc-4b79-b9f6-d3e1e3e94a71" providerId="ADAL" clId="{72B8197D-CE10-42AA-A416-727EA647D1B9}" dt="2025-04-02T23:37:52.904" v="228" actId="478"/>
          <ac:grpSpMkLst>
            <pc:docMk/>
            <pc:sldMk cId="526147250" sldId="2147482044"/>
            <ac:grpSpMk id="29" creationId="{6CD64F22-2A1F-A985-6CB6-1690F2595C7F}"/>
          </ac:grpSpMkLst>
        </pc:grpChg>
      </pc:sldChg>
      <pc:sldChg chg="addSp delSp modSp add mod">
        <pc:chgData name="Sarah Snoeyink (MEDC)" userId="0f4ce6d3-f4dc-4b79-b9f6-d3e1e3e94a71" providerId="ADAL" clId="{72B8197D-CE10-42AA-A416-727EA647D1B9}" dt="2025-04-03T00:36:19.500" v="3640" actId="6549"/>
        <pc:sldMkLst>
          <pc:docMk/>
          <pc:sldMk cId="683221032" sldId="2147482045"/>
        </pc:sldMkLst>
        <pc:spChg chg="mod">
          <ac:chgData name="Sarah Snoeyink (MEDC)" userId="0f4ce6d3-f4dc-4b79-b9f6-d3e1e3e94a71" providerId="ADAL" clId="{72B8197D-CE10-42AA-A416-727EA647D1B9}" dt="2025-04-03T00:31:07.693" v="3593" actId="20577"/>
          <ac:spMkLst>
            <pc:docMk/>
            <pc:sldMk cId="683221032" sldId="2147482045"/>
            <ac:spMk id="2" creationId="{71B457C0-70DA-75F8-B66D-BEAA4C6526BA}"/>
          </ac:spMkLst>
        </pc:spChg>
        <pc:spChg chg="mod">
          <ac:chgData name="Sarah Snoeyink (MEDC)" userId="0f4ce6d3-f4dc-4b79-b9f6-d3e1e3e94a71" providerId="ADAL" clId="{72B8197D-CE10-42AA-A416-727EA647D1B9}" dt="2025-04-02T23:40:24.178" v="643"/>
          <ac:spMkLst>
            <pc:docMk/>
            <pc:sldMk cId="683221032" sldId="2147482045"/>
            <ac:spMk id="7" creationId="{360850A4-FAEE-F50B-DFDD-42218A58D8E7}"/>
          </ac:spMkLst>
        </pc:spChg>
        <pc:spChg chg="mod">
          <ac:chgData name="Sarah Snoeyink (MEDC)" userId="0f4ce6d3-f4dc-4b79-b9f6-d3e1e3e94a71" providerId="ADAL" clId="{72B8197D-CE10-42AA-A416-727EA647D1B9}" dt="2025-04-03T00:36:19.500" v="3640" actId="6549"/>
          <ac:spMkLst>
            <pc:docMk/>
            <pc:sldMk cId="683221032" sldId="2147482045"/>
            <ac:spMk id="11" creationId="{360850A4-FAEE-F50B-DFDD-42218A58D8E7}"/>
          </ac:spMkLst>
        </pc:spChg>
        <pc:spChg chg="mod">
          <ac:chgData name="Sarah Snoeyink (MEDC)" userId="0f4ce6d3-f4dc-4b79-b9f6-d3e1e3e94a71" providerId="ADAL" clId="{72B8197D-CE10-42AA-A416-727EA647D1B9}" dt="2025-04-02T23:42:49.147" v="1012"/>
          <ac:spMkLst>
            <pc:docMk/>
            <pc:sldMk cId="683221032" sldId="2147482045"/>
            <ac:spMk id="15" creationId="{BB37C7D6-0AEF-8E2E-C85B-3541A1D6EA90}"/>
          </ac:spMkLst>
        </pc:spChg>
        <pc:grpChg chg="add del mod">
          <ac:chgData name="Sarah Snoeyink (MEDC)" userId="0f4ce6d3-f4dc-4b79-b9f6-d3e1e3e94a71" providerId="ADAL" clId="{72B8197D-CE10-42AA-A416-727EA647D1B9}" dt="2025-04-02T23:40:28.795" v="645" actId="21"/>
          <ac:grpSpMkLst>
            <pc:docMk/>
            <pc:sldMk cId="683221032" sldId="2147482045"/>
            <ac:grpSpMk id="5" creationId="{D6A1D717-7EE6-EAC1-D0DC-DACFCE61E92F}"/>
          </ac:grpSpMkLst>
        </pc:grpChg>
        <pc:grpChg chg="add mod">
          <ac:chgData name="Sarah Snoeyink (MEDC)" userId="0f4ce6d3-f4dc-4b79-b9f6-d3e1e3e94a71" providerId="ADAL" clId="{72B8197D-CE10-42AA-A416-727EA647D1B9}" dt="2025-04-02T23:40:31.844" v="647"/>
          <ac:grpSpMkLst>
            <pc:docMk/>
            <pc:sldMk cId="683221032" sldId="2147482045"/>
            <ac:grpSpMk id="10" creationId="{D6A1D717-7EE6-EAC1-D0DC-DACFCE61E92F}"/>
          </ac:grpSpMkLst>
        </pc:grpChg>
        <pc:grpChg chg="del">
          <ac:chgData name="Sarah Snoeyink (MEDC)" userId="0f4ce6d3-f4dc-4b79-b9f6-d3e1e3e94a71" providerId="ADAL" clId="{72B8197D-CE10-42AA-A416-727EA647D1B9}" dt="2025-04-02T23:40:31.609" v="646" actId="478"/>
          <ac:grpSpMkLst>
            <pc:docMk/>
            <pc:sldMk cId="683221032" sldId="2147482045"/>
            <ac:grpSpMk id="13" creationId="{B223C506-EB88-3D40-23A0-1CC5154D2F53}"/>
          </ac:grpSpMkLst>
        </pc:grpChg>
        <pc:grpChg chg="add mod">
          <ac:chgData name="Sarah Snoeyink (MEDC)" userId="0f4ce6d3-f4dc-4b79-b9f6-d3e1e3e94a71" providerId="ADAL" clId="{72B8197D-CE10-42AA-A416-727EA647D1B9}" dt="2025-04-02T23:42:49.147" v="1012"/>
          <ac:grpSpMkLst>
            <pc:docMk/>
            <pc:sldMk cId="683221032" sldId="2147482045"/>
            <ac:grpSpMk id="14" creationId="{8C982FBA-C28E-6348-767E-9BE56EF08F47}"/>
          </ac:grpSpMkLst>
        </pc:grpChg>
        <pc:picChg chg="mod">
          <ac:chgData name="Sarah Snoeyink (MEDC)" userId="0f4ce6d3-f4dc-4b79-b9f6-d3e1e3e94a71" providerId="ADAL" clId="{72B8197D-CE10-42AA-A416-727EA647D1B9}" dt="2025-04-02T23:40:24.178" v="643"/>
          <ac:picMkLst>
            <pc:docMk/>
            <pc:sldMk cId="683221032" sldId="2147482045"/>
            <ac:picMk id="8" creationId="{318331ED-750B-007B-AAC6-A4E59CD9B3EC}"/>
          </ac:picMkLst>
        </pc:picChg>
        <pc:picChg chg="mod">
          <ac:chgData name="Sarah Snoeyink (MEDC)" userId="0f4ce6d3-f4dc-4b79-b9f6-d3e1e3e94a71" providerId="ADAL" clId="{72B8197D-CE10-42AA-A416-727EA647D1B9}" dt="2025-04-02T23:40:31.844" v="647"/>
          <ac:picMkLst>
            <pc:docMk/>
            <pc:sldMk cId="683221032" sldId="2147482045"/>
            <ac:picMk id="12" creationId="{318331ED-750B-007B-AAC6-A4E59CD9B3EC}"/>
          </ac:picMkLst>
        </pc:picChg>
        <pc:picChg chg="mod">
          <ac:chgData name="Sarah Snoeyink (MEDC)" userId="0f4ce6d3-f4dc-4b79-b9f6-d3e1e3e94a71" providerId="ADAL" clId="{72B8197D-CE10-42AA-A416-727EA647D1B9}" dt="2025-04-02T23:42:49.147" v="1012"/>
          <ac:picMkLst>
            <pc:docMk/>
            <pc:sldMk cId="683221032" sldId="2147482045"/>
            <ac:picMk id="16" creationId="{6F2BBFA2-850A-2992-3CD7-A794912EFD43}"/>
          </ac:picMkLst>
        </pc:picChg>
      </pc:sldChg>
      <pc:sldChg chg="addSp delSp modSp add mod">
        <pc:chgData name="Sarah Snoeyink (MEDC)" userId="0f4ce6d3-f4dc-4b79-b9f6-d3e1e3e94a71" providerId="ADAL" clId="{72B8197D-CE10-42AA-A416-727EA647D1B9}" dt="2025-04-03T00:36:10.287" v="3638" actId="20577"/>
        <pc:sldMkLst>
          <pc:docMk/>
          <pc:sldMk cId="3848832449" sldId="2147482046"/>
        </pc:sldMkLst>
        <pc:spChg chg="mod">
          <ac:chgData name="Sarah Snoeyink (MEDC)" userId="0f4ce6d3-f4dc-4b79-b9f6-d3e1e3e94a71" providerId="ADAL" clId="{72B8197D-CE10-42AA-A416-727EA647D1B9}" dt="2025-04-02T23:45:05.629" v="1246" actId="313"/>
          <ac:spMkLst>
            <pc:docMk/>
            <pc:sldMk cId="3848832449" sldId="2147482046"/>
            <ac:spMk id="2" creationId="{0BFE185C-F38E-FABB-8F49-B584D292A5AB}"/>
          </ac:spMkLst>
        </pc:spChg>
        <pc:spChg chg="mod">
          <ac:chgData name="Sarah Snoeyink (MEDC)" userId="0f4ce6d3-f4dc-4b79-b9f6-d3e1e3e94a71" providerId="ADAL" clId="{72B8197D-CE10-42AA-A416-727EA647D1B9}" dt="2025-04-02T23:42:59.680" v="1015"/>
          <ac:spMkLst>
            <pc:docMk/>
            <pc:sldMk cId="3848832449" sldId="2147482046"/>
            <ac:spMk id="7" creationId="{0F5F20EC-62B2-4CC6-41D0-D880426264D2}"/>
          </ac:spMkLst>
        </pc:spChg>
        <pc:spChg chg="mod">
          <ac:chgData name="Sarah Snoeyink (MEDC)" userId="0f4ce6d3-f4dc-4b79-b9f6-d3e1e3e94a71" providerId="ADAL" clId="{72B8197D-CE10-42AA-A416-727EA647D1B9}" dt="2025-04-02T23:43:02.714" v="1017"/>
          <ac:spMkLst>
            <pc:docMk/>
            <pc:sldMk cId="3848832449" sldId="2147482046"/>
            <ac:spMk id="14" creationId="{60C0EAEE-DC1B-3A2B-9389-23D68A628155}"/>
          </ac:spMkLst>
        </pc:spChg>
        <pc:spChg chg="mod">
          <ac:chgData name="Sarah Snoeyink (MEDC)" userId="0f4ce6d3-f4dc-4b79-b9f6-d3e1e3e94a71" providerId="ADAL" clId="{72B8197D-CE10-42AA-A416-727EA647D1B9}" dt="2025-04-03T00:36:10.287" v="3638" actId="20577"/>
          <ac:spMkLst>
            <pc:docMk/>
            <pc:sldMk cId="3848832449" sldId="2147482046"/>
            <ac:spMk id="17" creationId="{60C0EAEE-DC1B-3A2B-9389-23D68A628155}"/>
          </ac:spMkLst>
        </pc:spChg>
        <pc:spChg chg="add del">
          <ac:chgData name="Sarah Snoeyink (MEDC)" userId="0f4ce6d3-f4dc-4b79-b9f6-d3e1e3e94a71" providerId="ADAL" clId="{72B8197D-CE10-42AA-A416-727EA647D1B9}" dt="2025-04-02T23:43:36.186" v="1052" actId="22"/>
          <ac:spMkLst>
            <pc:docMk/>
            <pc:sldMk cId="3848832449" sldId="2147482046"/>
            <ac:spMk id="20" creationId="{5538F4E9-C921-7473-5048-79C400B3A434}"/>
          </ac:spMkLst>
        </pc:spChg>
        <pc:grpChg chg="add mod">
          <ac:chgData name="Sarah Snoeyink (MEDC)" userId="0f4ce6d3-f4dc-4b79-b9f6-d3e1e3e94a71" providerId="ADAL" clId="{72B8197D-CE10-42AA-A416-727EA647D1B9}" dt="2025-04-02T23:42:59.680" v="1015"/>
          <ac:grpSpMkLst>
            <pc:docMk/>
            <pc:sldMk cId="3848832449" sldId="2147482046"/>
            <ac:grpSpMk id="5" creationId="{D5F6B1E2-7A72-424F-A093-1077292F9068}"/>
          </ac:grpSpMkLst>
        </pc:grpChg>
        <pc:grpChg chg="add del">
          <ac:chgData name="Sarah Snoeyink (MEDC)" userId="0f4ce6d3-f4dc-4b79-b9f6-d3e1e3e94a71" providerId="ADAL" clId="{72B8197D-CE10-42AA-A416-727EA647D1B9}" dt="2025-04-02T23:43:07.184" v="1020" actId="478"/>
          <ac:grpSpMkLst>
            <pc:docMk/>
            <pc:sldMk cId="3848832449" sldId="2147482046"/>
            <ac:grpSpMk id="10" creationId="{007EFD01-C59A-87B6-21F9-C51411A86362}"/>
          </ac:grpSpMkLst>
        </pc:grpChg>
        <pc:grpChg chg="add del mod">
          <ac:chgData name="Sarah Snoeyink (MEDC)" userId="0f4ce6d3-f4dc-4b79-b9f6-d3e1e3e94a71" providerId="ADAL" clId="{72B8197D-CE10-42AA-A416-727EA647D1B9}" dt="2025-04-02T23:43:06.161" v="1019" actId="21"/>
          <ac:grpSpMkLst>
            <pc:docMk/>
            <pc:sldMk cId="3848832449" sldId="2147482046"/>
            <ac:grpSpMk id="13" creationId="{F5168363-5F5C-FB0F-9277-AE9EE53CA603}"/>
          </ac:grpSpMkLst>
        </pc:grpChg>
        <pc:grpChg chg="add mod">
          <ac:chgData name="Sarah Snoeyink (MEDC)" userId="0f4ce6d3-f4dc-4b79-b9f6-d3e1e3e94a71" providerId="ADAL" clId="{72B8197D-CE10-42AA-A416-727EA647D1B9}" dt="2025-04-02T23:43:07.409" v="1021"/>
          <ac:grpSpMkLst>
            <pc:docMk/>
            <pc:sldMk cId="3848832449" sldId="2147482046"/>
            <ac:grpSpMk id="16" creationId="{F5168363-5F5C-FB0F-9277-AE9EE53CA603}"/>
          </ac:grpSpMkLst>
        </pc:grpChg>
        <pc:picChg chg="mod">
          <ac:chgData name="Sarah Snoeyink (MEDC)" userId="0f4ce6d3-f4dc-4b79-b9f6-d3e1e3e94a71" providerId="ADAL" clId="{72B8197D-CE10-42AA-A416-727EA647D1B9}" dt="2025-04-02T23:42:59.680" v="1015"/>
          <ac:picMkLst>
            <pc:docMk/>
            <pc:sldMk cId="3848832449" sldId="2147482046"/>
            <ac:picMk id="8" creationId="{632E1B45-B662-63C8-8F09-BD18BCCB00E3}"/>
          </ac:picMkLst>
        </pc:picChg>
        <pc:picChg chg="mod">
          <ac:chgData name="Sarah Snoeyink (MEDC)" userId="0f4ce6d3-f4dc-4b79-b9f6-d3e1e3e94a71" providerId="ADAL" clId="{72B8197D-CE10-42AA-A416-727EA647D1B9}" dt="2025-04-02T23:43:02.714" v="1017"/>
          <ac:picMkLst>
            <pc:docMk/>
            <pc:sldMk cId="3848832449" sldId="2147482046"/>
            <ac:picMk id="15" creationId="{3B4C02A5-4A77-F8C5-9468-2A9135948F31}"/>
          </ac:picMkLst>
        </pc:picChg>
        <pc:picChg chg="mod">
          <ac:chgData name="Sarah Snoeyink (MEDC)" userId="0f4ce6d3-f4dc-4b79-b9f6-d3e1e3e94a71" providerId="ADAL" clId="{72B8197D-CE10-42AA-A416-727EA647D1B9}" dt="2025-04-02T23:43:07.409" v="1021"/>
          <ac:picMkLst>
            <pc:docMk/>
            <pc:sldMk cId="3848832449" sldId="2147482046"/>
            <ac:picMk id="18" creationId="{3B4C02A5-4A77-F8C5-9468-2A9135948F31}"/>
          </ac:picMkLst>
        </pc:picChg>
      </pc:sldChg>
      <pc:sldChg chg="modSp add del mod ord">
        <pc:chgData name="Sarah Snoeyink (MEDC)" userId="0f4ce6d3-f4dc-4b79-b9f6-d3e1e3e94a71" providerId="ADAL" clId="{72B8197D-CE10-42AA-A416-727EA647D1B9}" dt="2025-04-03T00:20:01.768" v="2879" actId="47"/>
        <pc:sldMkLst>
          <pc:docMk/>
          <pc:sldMk cId="3000974864" sldId="2147482047"/>
        </pc:sldMkLst>
        <pc:spChg chg="mod">
          <ac:chgData name="Sarah Snoeyink (MEDC)" userId="0f4ce6d3-f4dc-4b79-b9f6-d3e1e3e94a71" providerId="ADAL" clId="{72B8197D-CE10-42AA-A416-727EA647D1B9}" dt="2025-04-02T23:51:28.649" v="1883" actId="113"/>
          <ac:spMkLst>
            <pc:docMk/>
            <pc:sldMk cId="3000974864" sldId="2147482047"/>
            <ac:spMk id="2" creationId="{0D241691-7C82-D305-C915-0EA40F627485}"/>
          </ac:spMkLst>
        </pc:spChg>
        <pc:spChg chg="mod">
          <ac:chgData name="Sarah Snoeyink (MEDC)" userId="0f4ce6d3-f4dc-4b79-b9f6-d3e1e3e94a71" providerId="ADAL" clId="{72B8197D-CE10-42AA-A416-727EA647D1B9}" dt="2025-04-02T23:51:36.455" v="1892" actId="20577"/>
          <ac:spMkLst>
            <pc:docMk/>
            <pc:sldMk cId="3000974864" sldId="2147482047"/>
            <ac:spMk id="17" creationId="{828D5181-5781-D67D-97DD-BAF1BEE9F9E4}"/>
          </ac:spMkLst>
        </pc:spChg>
        <pc:spChg chg="mod">
          <ac:chgData name="Sarah Snoeyink (MEDC)" userId="0f4ce6d3-f4dc-4b79-b9f6-d3e1e3e94a71" providerId="ADAL" clId="{72B8197D-CE10-42AA-A416-727EA647D1B9}" dt="2025-04-02T23:45:58.460" v="1254" actId="20577"/>
          <ac:spMkLst>
            <pc:docMk/>
            <pc:sldMk cId="3000974864" sldId="2147482047"/>
            <ac:spMk id="72" creationId="{2F60BC95-5845-8637-1BE3-BE4CD51616E5}"/>
          </ac:spMkLst>
        </pc:spChg>
      </pc:sldChg>
      <pc:sldChg chg="addSp delSp modSp add mod modNotesTx">
        <pc:chgData name="Sarah Snoeyink (MEDC)" userId="0f4ce6d3-f4dc-4b79-b9f6-d3e1e3e94a71" providerId="ADAL" clId="{72B8197D-CE10-42AA-A416-727EA647D1B9}" dt="2025-04-02T23:56:55.884" v="2129" actId="20577"/>
        <pc:sldMkLst>
          <pc:docMk/>
          <pc:sldMk cId="2585213352" sldId="2147482048"/>
        </pc:sldMkLst>
        <pc:picChg chg="add mod modCrop">
          <ac:chgData name="Sarah Snoeyink (MEDC)" userId="0f4ce6d3-f4dc-4b79-b9f6-d3e1e3e94a71" providerId="ADAL" clId="{72B8197D-CE10-42AA-A416-727EA647D1B9}" dt="2025-04-02T23:56:23.484" v="2124" actId="14861"/>
          <ac:picMkLst>
            <pc:docMk/>
            <pc:sldMk cId="2585213352" sldId="2147482048"/>
            <ac:picMk id="5" creationId="{3FBB2706-B6E8-965E-C36A-B6A8AC97C53E}"/>
          </ac:picMkLst>
        </pc:picChg>
        <pc:picChg chg="del">
          <ac:chgData name="Sarah Snoeyink (MEDC)" userId="0f4ce6d3-f4dc-4b79-b9f6-d3e1e3e94a71" providerId="ADAL" clId="{72B8197D-CE10-42AA-A416-727EA647D1B9}" dt="2025-04-02T23:54:40.777" v="2098" actId="478"/>
          <ac:picMkLst>
            <pc:docMk/>
            <pc:sldMk cId="2585213352" sldId="2147482048"/>
            <ac:picMk id="8" creationId="{2E496742-F7F6-120C-F6A5-D4C68F479114}"/>
          </ac:picMkLst>
        </pc:picChg>
        <pc:picChg chg="add mod modCrop">
          <ac:chgData name="Sarah Snoeyink (MEDC)" userId="0f4ce6d3-f4dc-4b79-b9f6-d3e1e3e94a71" providerId="ADAL" clId="{72B8197D-CE10-42AA-A416-727EA647D1B9}" dt="2025-04-02T23:56:27.868" v="2125" actId="108"/>
          <ac:picMkLst>
            <pc:docMk/>
            <pc:sldMk cId="2585213352" sldId="2147482048"/>
            <ac:picMk id="10" creationId="{811D96BC-CCFC-2B4A-C3CA-455F7034DEF4}"/>
          </ac:picMkLst>
        </pc:picChg>
        <pc:picChg chg="del">
          <ac:chgData name="Sarah Snoeyink (MEDC)" userId="0f4ce6d3-f4dc-4b79-b9f6-d3e1e3e94a71" providerId="ADAL" clId="{72B8197D-CE10-42AA-A416-727EA647D1B9}" dt="2025-04-02T23:54:39.470" v="2097" actId="478"/>
          <ac:picMkLst>
            <pc:docMk/>
            <pc:sldMk cId="2585213352" sldId="2147482048"/>
            <ac:picMk id="11" creationId="{FDABE579-ACD5-E468-9D6B-F3C8B414CC74}"/>
          </ac:picMkLst>
        </pc:picChg>
      </pc:sldChg>
      <pc:sldChg chg="delSp add del mod ord">
        <pc:chgData name="Sarah Snoeyink (MEDC)" userId="0f4ce6d3-f4dc-4b79-b9f6-d3e1e3e94a71" providerId="ADAL" clId="{72B8197D-CE10-42AA-A416-727EA647D1B9}" dt="2025-04-02T23:59:13.839" v="2164" actId="47"/>
        <pc:sldMkLst>
          <pc:docMk/>
          <pc:sldMk cId="271842102" sldId="2147482049"/>
        </pc:sldMkLst>
        <pc:spChg chg="del">
          <ac:chgData name="Sarah Snoeyink (MEDC)" userId="0f4ce6d3-f4dc-4b79-b9f6-d3e1e3e94a71" providerId="ADAL" clId="{72B8197D-CE10-42AA-A416-727EA647D1B9}" dt="2025-04-02T23:59:12.129" v="2163" actId="21"/>
          <ac:spMkLst>
            <pc:docMk/>
            <pc:sldMk cId="271842102" sldId="2147482049"/>
            <ac:spMk id="2" creationId="{5516ABDD-0E0F-7BA3-5008-0A1E4DAAF34E}"/>
          </ac:spMkLst>
        </pc:spChg>
      </pc:sldChg>
      <pc:sldChg chg="addSp delSp modSp add mod">
        <pc:chgData name="Sarah Snoeyink (MEDC)" userId="0f4ce6d3-f4dc-4b79-b9f6-d3e1e3e94a71" providerId="ADAL" clId="{72B8197D-CE10-42AA-A416-727EA647D1B9}" dt="2025-04-03T00:29:23.688" v="3572" actId="207"/>
        <pc:sldMkLst>
          <pc:docMk/>
          <pc:sldMk cId="2358112130" sldId="2147482050"/>
        </pc:sldMkLst>
        <pc:spChg chg="add mod">
          <ac:chgData name="Sarah Snoeyink (MEDC)" userId="0f4ce6d3-f4dc-4b79-b9f6-d3e1e3e94a71" providerId="ADAL" clId="{72B8197D-CE10-42AA-A416-727EA647D1B9}" dt="2025-04-03T00:29:23.688" v="3572" actId="207"/>
          <ac:spMkLst>
            <pc:docMk/>
            <pc:sldMk cId="2358112130" sldId="2147482050"/>
            <ac:spMk id="2" creationId="{C3D76119-03DE-E0F9-F2FC-5FE508FE3752}"/>
          </ac:spMkLst>
        </pc:spChg>
        <pc:picChg chg="del">
          <ac:chgData name="Sarah Snoeyink (MEDC)" userId="0f4ce6d3-f4dc-4b79-b9f6-d3e1e3e94a71" providerId="ADAL" clId="{72B8197D-CE10-42AA-A416-727EA647D1B9}" dt="2025-04-02T23:59:08.829" v="2162" actId="478"/>
          <ac:picMkLst>
            <pc:docMk/>
            <pc:sldMk cId="2358112130" sldId="2147482050"/>
            <ac:picMk id="5" creationId="{B44C8296-1567-1564-B61F-8D505A4342D2}"/>
          </ac:picMkLst>
        </pc:picChg>
        <pc:picChg chg="add mod ord">
          <ac:chgData name="Sarah Snoeyink (MEDC)" userId="0f4ce6d3-f4dc-4b79-b9f6-d3e1e3e94a71" providerId="ADAL" clId="{72B8197D-CE10-42AA-A416-727EA647D1B9}" dt="2025-04-03T00:01:03.864" v="2178" actId="167"/>
          <ac:picMkLst>
            <pc:docMk/>
            <pc:sldMk cId="2358112130" sldId="2147482050"/>
            <ac:picMk id="7" creationId="{59C95385-DB3E-A409-6C55-79676AA59B42}"/>
          </ac:picMkLst>
        </pc:picChg>
        <pc:picChg chg="add mod ord">
          <ac:chgData name="Sarah Snoeyink (MEDC)" userId="0f4ce6d3-f4dc-4b79-b9f6-d3e1e3e94a71" providerId="ADAL" clId="{72B8197D-CE10-42AA-A416-727EA647D1B9}" dt="2025-04-03T00:01:03.864" v="2178" actId="167"/>
          <ac:picMkLst>
            <pc:docMk/>
            <pc:sldMk cId="2358112130" sldId="2147482050"/>
            <ac:picMk id="8" creationId="{9A089130-7330-D4E5-F808-09709FA464C1}"/>
          </ac:picMkLst>
        </pc:picChg>
      </pc:sldChg>
      <pc:sldChg chg="add del ord">
        <pc:chgData name="Sarah Snoeyink (MEDC)" userId="0f4ce6d3-f4dc-4b79-b9f6-d3e1e3e94a71" providerId="ADAL" clId="{72B8197D-CE10-42AA-A416-727EA647D1B9}" dt="2025-04-03T00:01:06.981" v="2179" actId="47"/>
        <pc:sldMkLst>
          <pc:docMk/>
          <pc:sldMk cId="305600301" sldId="2147482051"/>
        </pc:sldMkLst>
      </pc:sldChg>
      <pc:sldChg chg="addSp delSp modSp add mod ord modNotesTx">
        <pc:chgData name="Sarah Snoeyink (MEDC)" userId="0f4ce6d3-f4dc-4b79-b9f6-d3e1e3e94a71" providerId="ADAL" clId="{72B8197D-CE10-42AA-A416-727EA647D1B9}" dt="2025-04-03T00:16:48.220" v="2754"/>
        <pc:sldMkLst>
          <pc:docMk/>
          <pc:sldMk cId="3523620720" sldId="2147482051"/>
        </pc:sldMkLst>
        <pc:spChg chg="mod">
          <ac:chgData name="Sarah Snoeyink (MEDC)" userId="0f4ce6d3-f4dc-4b79-b9f6-d3e1e3e94a71" providerId="ADAL" clId="{72B8197D-CE10-42AA-A416-727EA647D1B9}" dt="2025-04-03T00:06:52.093" v="2441" actId="20577"/>
          <ac:spMkLst>
            <pc:docMk/>
            <pc:sldMk cId="3523620720" sldId="2147482051"/>
            <ac:spMk id="72" creationId="{8B17E0AE-8764-7A79-74F7-FFF17D50D85F}"/>
          </ac:spMkLst>
        </pc:spChg>
        <pc:picChg chg="add del mod">
          <ac:chgData name="Sarah Snoeyink (MEDC)" userId="0f4ce6d3-f4dc-4b79-b9f6-d3e1e3e94a71" providerId="ADAL" clId="{72B8197D-CE10-42AA-A416-727EA647D1B9}" dt="2025-04-03T00:08:52.377" v="2461" actId="478"/>
          <ac:picMkLst>
            <pc:docMk/>
            <pc:sldMk cId="3523620720" sldId="2147482051"/>
            <ac:picMk id="5" creationId="{438A5F26-8D0A-BB4F-11DA-5F8FFBBCB0B5}"/>
          </ac:picMkLst>
        </pc:picChg>
        <pc:picChg chg="del">
          <ac:chgData name="Sarah Snoeyink (MEDC)" userId="0f4ce6d3-f4dc-4b79-b9f6-d3e1e3e94a71" providerId="ADAL" clId="{72B8197D-CE10-42AA-A416-727EA647D1B9}" dt="2025-04-03T00:06:54.822" v="2443" actId="478"/>
          <ac:picMkLst>
            <pc:docMk/>
            <pc:sldMk cId="3523620720" sldId="2147482051"/>
            <ac:picMk id="7" creationId="{FE2B26E5-525B-3ABC-96FC-C76809176D4D}"/>
          </ac:picMkLst>
        </pc:picChg>
        <pc:picChg chg="del">
          <ac:chgData name="Sarah Snoeyink (MEDC)" userId="0f4ce6d3-f4dc-4b79-b9f6-d3e1e3e94a71" providerId="ADAL" clId="{72B8197D-CE10-42AA-A416-727EA647D1B9}" dt="2025-04-03T00:06:53.843" v="2442" actId="478"/>
          <ac:picMkLst>
            <pc:docMk/>
            <pc:sldMk cId="3523620720" sldId="2147482051"/>
            <ac:picMk id="8" creationId="{A33A99E0-74E5-BD60-B619-2EABAD86E106}"/>
          </ac:picMkLst>
        </pc:picChg>
        <pc:picChg chg="add mod">
          <ac:chgData name="Sarah Snoeyink (MEDC)" userId="0f4ce6d3-f4dc-4b79-b9f6-d3e1e3e94a71" providerId="ADAL" clId="{72B8197D-CE10-42AA-A416-727EA647D1B9}" dt="2025-04-03T00:10:12.219" v="2475" actId="1076"/>
          <ac:picMkLst>
            <pc:docMk/>
            <pc:sldMk cId="3523620720" sldId="2147482051"/>
            <ac:picMk id="11" creationId="{CEE4B769-BE0A-2E5C-0601-8ED84D58D5CA}"/>
          </ac:picMkLst>
        </pc:picChg>
        <pc:picChg chg="add mod modCrop">
          <ac:chgData name="Sarah Snoeyink (MEDC)" userId="0f4ce6d3-f4dc-4b79-b9f6-d3e1e3e94a71" providerId="ADAL" clId="{72B8197D-CE10-42AA-A416-727EA647D1B9}" dt="2025-04-03T00:10:07.547" v="2474" actId="1076"/>
          <ac:picMkLst>
            <pc:docMk/>
            <pc:sldMk cId="3523620720" sldId="2147482051"/>
            <ac:picMk id="13" creationId="{6E07C167-EF17-B99E-4763-7A3D42EFD10F}"/>
          </ac:picMkLst>
        </pc:picChg>
      </pc:sldChg>
      <pc:sldChg chg="addSp delSp modSp add mod modNotesTx">
        <pc:chgData name="Sarah Snoeyink (MEDC)" userId="0f4ce6d3-f4dc-4b79-b9f6-d3e1e3e94a71" providerId="ADAL" clId="{72B8197D-CE10-42AA-A416-727EA647D1B9}" dt="2025-04-03T00:17:16.813" v="2761" actId="1076"/>
        <pc:sldMkLst>
          <pc:docMk/>
          <pc:sldMk cId="685092281" sldId="2147482052"/>
        </pc:sldMkLst>
        <pc:spChg chg="mod">
          <ac:chgData name="Sarah Snoeyink (MEDC)" userId="0f4ce6d3-f4dc-4b79-b9f6-d3e1e3e94a71" providerId="ADAL" clId="{72B8197D-CE10-42AA-A416-727EA647D1B9}" dt="2025-04-03T00:12:29.795" v="2517" actId="20577"/>
          <ac:spMkLst>
            <pc:docMk/>
            <pc:sldMk cId="685092281" sldId="2147482052"/>
            <ac:spMk id="72" creationId="{8F027869-B95E-F276-0C7C-7BBE84845A45}"/>
          </ac:spMkLst>
        </pc:spChg>
        <pc:picChg chg="add del mod">
          <ac:chgData name="Sarah Snoeyink (MEDC)" userId="0f4ce6d3-f4dc-4b79-b9f6-d3e1e3e94a71" providerId="ADAL" clId="{72B8197D-CE10-42AA-A416-727EA647D1B9}" dt="2025-04-03T00:13:55.446" v="2525" actId="478"/>
          <ac:picMkLst>
            <pc:docMk/>
            <pc:sldMk cId="685092281" sldId="2147482052"/>
            <ac:picMk id="5" creationId="{29AC1AA4-E923-1A7F-8CA4-EBE68EDF686E}"/>
          </ac:picMkLst>
        </pc:picChg>
        <pc:picChg chg="add mod">
          <ac:chgData name="Sarah Snoeyink (MEDC)" userId="0f4ce6d3-f4dc-4b79-b9f6-d3e1e3e94a71" providerId="ADAL" clId="{72B8197D-CE10-42AA-A416-727EA647D1B9}" dt="2025-04-03T00:17:16.813" v="2761" actId="1076"/>
          <ac:picMkLst>
            <pc:docMk/>
            <pc:sldMk cId="685092281" sldId="2147482052"/>
            <ac:picMk id="8" creationId="{FF75EB17-8778-B5F2-2B1D-C4B51CF015C3}"/>
          </ac:picMkLst>
        </pc:picChg>
        <pc:picChg chg="del">
          <ac:chgData name="Sarah Snoeyink (MEDC)" userId="0f4ce6d3-f4dc-4b79-b9f6-d3e1e3e94a71" providerId="ADAL" clId="{72B8197D-CE10-42AA-A416-727EA647D1B9}" dt="2025-04-03T00:13:30.792" v="2520" actId="478"/>
          <ac:picMkLst>
            <pc:docMk/>
            <pc:sldMk cId="685092281" sldId="2147482052"/>
            <ac:picMk id="11" creationId="{A06D54B4-DBE6-4BA4-024C-E872C61A5A12}"/>
          </ac:picMkLst>
        </pc:picChg>
        <pc:picChg chg="del">
          <ac:chgData name="Sarah Snoeyink (MEDC)" userId="0f4ce6d3-f4dc-4b79-b9f6-d3e1e3e94a71" providerId="ADAL" clId="{72B8197D-CE10-42AA-A416-727EA647D1B9}" dt="2025-04-03T00:13:29.443" v="2519" actId="478"/>
          <ac:picMkLst>
            <pc:docMk/>
            <pc:sldMk cId="685092281" sldId="2147482052"/>
            <ac:picMk id="13" creationId="{BCEC3EFA-830B-5DBC-203B-B617CEA1B3E3}"/>
          </ac:picMkLst>
        </pc:picChg>
        <pc:picChg chg="add mod">
          <ac:chgData name="Sarah Snoeyink (MEDC)" userId="0f4ce6d3-f4dc-4b79-b9f6-d3e1e3e94a71" providerId="ADAL" clId="{72B8197D-CE10-42AA-A416-727EA647D1B9}" dt="2025-04-03T00:17:16.813" v="2761" actId="1076"/>
          <ac:picMkLst>
            <pc:docMk/>
            <pc:sldMk cId="685092281" sldId="2147482052"/>
            <ac:picMk id="1026" creationId="{B2CA1DD9-27A9-FE52-89CB-FBE2C699A134}"/>
          </ac:picMkLst>
        </pc:picChg>
      </pc:sldChg>
      <pc:sldChg chg="modSp add mod ord">
        <pc:chgData name="Sarah Snoeyink (MEDC)" userId="0f4ce6d3-f4dc-4b79-b9f6-d3e1e3e94a71" providerId="ADAL" clId="{72B8197D-CE10-42AA-A416-727EA647D1B9}" dt="2025-04-03T00:35:36.497" v="3633"/>
        <pc:sldMkLst>
          <pc:docMk/>
          <pc:sldMk cId="288708471" sldId="2147482053"/>
        </pc:sldMkLst>
        <pc:spChg chg="mod">
          <ac:chgData name="Sarah Snoeyink (MEDC)" userId="0f4ce6d3-f4dc-4b79-b9f6-d3e1e3e94a71" providerId="ADAL" clId="{72B8197D-CE10-42AA-A416-727EA647D1B9}" dt="2025-04-03T00:19:48.593" v="2840" actId="20577"/>
          <ac:spMkLst>
            <pc:docMk/>
            <pc:sldMk cId="288708471" sldId="2147482053"/>
            <ac:spMk id="2" creationId="{58C64E81-910F-F7CB-EDBF-FBA3CFB90BBE}"/>
          </ac:spMkLst>
        </pc:spChg>
        <pc:grpChg chg="mod">
          <ac:chgData name="Sarah Snoeyink (MEDC)" userId="0f4ce6d3-f4dc-4b79-b9f6-d3e1e3e94a71" providerId="ADAL" clId="{72B8197D-CE10-42AA-A416-727EA647D1B9}" dt="2025-04-03T00:19:59.168" v="2878" actId="1038"/>
          <ac:grpSpMkLst>
            <pc:docMk/>
            <pc:sldMk cId="288708471" sldId="2147482053"/>
            <ac:grpSpMk id="16" creationId="{846401E4-F61E-EBC4-4A8F-03719EE69FB4}"/>
          </ac:grpSpMkLst>
        </pc:grpChg>
      </pc:sldChg>
      <pc:sldChg chg="modSp add mod modNotesTx">
        <pc:chgData name="Sarah Snoeyink (MEDC)" userId="0f4ce6d3-f4dc-4b79-b9f6-d3e1e3e94a71" providerId="ADAL" clId="{72B8197D-CE10-42AA-A416-727EA647D1B9}" dt="2025-04-03T00:20:08.973" v="2881" actId="6549"/>
        <pc:sldMkLst>
          <pc:docMk/>
          <pc:sldMk cId="1773896456" sldId="2147482054"/>
        </pc:sldMkLst>
        <pc:spChg chg="mod">
          <ac:chgData name="Sarah Snoeyink (MEDC)" userId="0f4ce6d3-f4dc-4b79-b9f6-d3e1e3e94a71" providerId="ADAL" clId="{72B8197D-CE10-42AA-A416-727EA647D1B9}" dt="2025-04-03T00:20:08.973" v="2881" actId="6549"/>
          <ac:spMkLst>
            <pc:docMk/>
            <pc:sldMk cId="1773896456" sldId="2147482054"/>
            <ac:spMk id="3" creationId="{B2F2550A-5490-4729-45D7-2697DD04A3EC}"/>
          </ac:spMkLst>
        </pc:spChg>
      </pc:sldChg>
      <pc:sldChg chg="addSp delSp modSp add mod ord">
        <pc:chgData name="Sarah Snoeyink (MEDC)" userId="0f4ce6d3-f4dc-4b79-b9f6-d3e1e3e94a71" providerId="ADAL" clId="{72B8197D-CE10-42AA-A416-727EA647D1B9}" dt="2025-04-03T00:29:12.373" v="3571" actId="21"/>
        <pc:sldMkLst>
          <pc:docMk/>
          <pc:sldMk cId="3031602843" sldId="2147482055"/>
        </pc:sldMkLst>
        <pc:spChg chg="mod">
          <ac:chgData name="Sarah Snoeyink (MEDC)" userId="0f4ce6d3-f4dc-4b79-b9f6-d3e1e3e94a71" providerId="ADAL" clId="{72B8197D-CE10-42AA-A416-727EA647D1B9}" dt="2025-04-03T00:29:12.373" v="3571" actId="21"/>
          <ac:spMkLst>
            <pc:docMk/>
            <pc:sldMk cId="3031602843" sldId="2147482055"/>
            <ac:spMk id="2" creationId="{0F84D17C-1AC6-46D2-7505-9957E57873B8}"/>
          </ac:spMkLst>
        </pc:spChg>
        <pc:spChg chg="mod">
          <ac:chgData name="Sarah Snoeyink (MEDC)" userId="0f4ce6d3-f4dc-4b79-b9f6-d3e1e3e94a71" providerId="ADAL" clId="{72B8197D-CE10-42AA-A416-727EA647D1B9}" dt="2025-04-03T00:28:53.501" v="3568" actId="20577"/>
          <ac:spMkLst>
            <pc:docMk/>
            <pc:sldMk cId="3031602843" sldId="2147482055"/>
            <ac:spMk id="72" creationId="{DE1D4E20-427C-EC65-717E-779C906EBB8A}"/>
          </ac:spMkLst>
        </pc:spChg>
        <pc:grpChg chg="del">
          <ac:chgData name="Sarah Snoeyink (MEDC)" userId="0f4ce6d3-f4dc-4b79-b9f6-d3e1e3e94a71" providerId="ADAL" clId="{72B8197D-CE10-42AA-A416-727EA647D1B9}" dt="2025-04-03T00:25:08.903" v="3074" actId="478"/>
          <ac:grpSpMkLst>
            <pc:docMk/>
            <pc:sldMk cId="3031602843" sldId="2147482055"/>
            <ac:grpSpMk id="16" creationId="{6389966B-A27C-5D97-07B0-CC1EAD3D4B25}"/>
          </ac:grpSpMkLst>
        </pc:grpChg>
        <pc:picChg chg="add mod">
          <ac:chgData name="Sarah Snoeyink (MEDC)" userId="0f4ce6d3-f4dc-4b79-b9f6-d3e1e3e94a71" providerId="ADAL" clId="{72B8197D-CE10-42AA-A416-727EA647D1B9}" dt="2025-04-03T00:28:44.600" v="3551" actId="1076"/>
          <ac:picMkLst>
            <pc:docMk/>
            <pc:sldMk cId="3031602843" sldId="2147482055"/>
            <ac:picMk id="5" creationId="{687E9D60-9617-83A8-6AD3-EE573BC23101}"/>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A5DD393-46ED-4551-B46D-0F4B62F6018C}" type="datetimeFigureOut">
              <a:rPr lang="en-US" smtClean="0"/>
              <a:t>4/2/202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6607795-198E-45A3-BE77-D02EB30876A2}" type="slidenum">
              <a:rPr lang="en-US" smtClean="0"/>
              <a:t>‹#›</a:t>
            </a:fld>
            <a:endParaRPr lang="en-US"/>
          </a:p>
        </p:txBody>
      </p:sp>
    </p:spTree>
    <p:extLst>
      <p:ext uri="{BB962C8B-B14F-4D97-AF65-F5344CB8AC3E}">
        <p14:creationId xmlns:p14="http://schemas.microsoft.com/office/powerpoint/2010/main" val="6048919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fld id="{3C3A632B-FBDE-46D4-BF6F-6D14421E6342}" type="slidenum">
              <a:rPr lang="en-US"/>
              <a:pPr/>
              <a:t>1</a:t>
            </a:fld>
            <a:endParaRPr lang="en-US" dirty="0"/>
          </a:p>
        </p:txBody>
      </p:sp>
      <p:sp>
        <p:nvSpPr>
          <p:cNvPr id="10" name="Notes Placeholder 9"/>
          <p:cNvSpPr>
            <a:spLocks noGrp="1"/>
          </p:cNvSpPr>
          <p:nvPr>
            <p:ph type="body" idx="1"/>
          </p:nvPr>
        </p:nvSpPr>
        <p:spPr/>
        <p:txBody>
          <a:bodyPr/>
          <a:lstStyle/>
          <a:p>
            <a:endParaRPr lang="en-US" dirty="0"/>
          </a:p>
        </p:txBody>
      </p:sp>
      <p:sp>
        <p:nvSpPr>
          <p:cNvPr id="5" name="Slide Image Placeholder 4">
            <a:extLst>
              <a:ext uri="{FF2B5EF4-FFF2-40B4-BE49-F238E27FC236}">
                <a16:creationId xmlns:a16="http://schemas.microsoft.com/office/drawing/2014/main" id="{A5FB46A6-9BB4-4F1A-B47F-08CFF48DC48C}"/>
              </a:ext>
            </a:extLst>
          </p:cNvPr>
          <p:cNvSpPr>
            <a:spLocks noGrp="1" noRot="1" noChangeAspect="1"/>
          </p:cNvSpPr>
          <p:nvPr>
            <p:ph type="sldImg"/>
          </p:nvPr>
        </p:nvSpPr>
        <p:spPr/>
      </p:sp>
    </p:spTree>
    <p:extLst>
      <p:ext uri="{BB962C8B-B14F-4D97-AF65-F5344CB8AC3E}">
        <p14:creationId xmlns:p14="http://schemas.microsoft.com/office/powerpoint/2010/main" val="34909791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C3A02DF-B099-BD7B-9B2C-383D2784BF7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9CFF2DF-0C79-989C-A830-A6C2DD4844AD}"/>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A9A39787-1A0D-7CC3-E81B-D0E326A67B87}"/>
              </a:ext>
            </a:extLst>
          </p:cNvPr>
          <p:cNvSpPr>
            <a:spLocks noGrp="1"/>
          </p:cNvSpPr>
          <p:nvPr>
            <p:ph type="body" idx="1"/>
          </p:nvPr>
        </p:nvSpPr>
        <p:spPr>
          <a:xfrm>
            <a:off x="258346" y="4250151"/>
            <a:ext cx="6850146" cy="4018536"/>
          </a:xfrm>
        </p:spPr>
        <p:txBody>
          <a:bodyPr/>
          <a:lstStyle/>
          <a:p>
            <a:pPr marL="171450" marR="0" indent="-171450">
              <a:lnSpc>
                <a:spcPct val="107000"/>
              </a:lnSpc>
              <a:spcBef>
                <a:spcPts val="0"/>
              </a:spcBef>
              <a:spcAft>
                <a:spcPts val="800"/>
              </a:spcAft>
              <a:buFont typeface="Arial" panose="020B0604020202020204" pitchFamily="34" charset="0"/>
              <a:buChar char="•"/>
              <a:tabLst>
                <a:tab pos="457200" algn="l"/>
              </a:tabLst>
            </a:pPr>
            <a:endParaRPr lang="en-US" sz="1100" b="0" u="none" kern="100" dirty="0">
              <a:effectLst/>
              <a:latin typeface="Calibri" panose="020F0502020204030204" pitchFamily="34" charset="0"/>
              <a:ea typeface="Calibri" panose="020F0502020204030204" pitchFamily="34" charset="0"/>
              <a:cs typeface="Calibri"/>
            </a:endParaRPr>
          </a:p>
          <a:p>
            <a:pPr marL="0" marR="0">
              <a:lnSpc>
                <a:spcPct val="107000"/>
              </a:lnSpc>
              <a:spcBef>
                <a:spcPts val="0"/>
              </a:spcBef>
              <a:spcAft>
                <a:spcPts val="800"/>
              </a:spcAft>
              <a:tabLst>
                <a:tab pos="457200" algn="l"/>
              </a:tabLst>
            </a:pPr>
            <a:endParaRPr lang="en-US" sz="1100" b="1" u="sng" kern="100" dirty="0">
              <a:effectLst/>
              <a:latin typeface="Calibri" panose="020F0502020204030204" pitchFamily="34" charset="0"/>
              <a:ea typeface="Calibri" panose="020F0502020204030204" pitchFamily="34" charset="0"/>
              <a:cs typeface="Calibri"/>
            </a:endParaRPr>
          </a:p>
        </p:txBody>
      </p:sp>
      <p:sp>
        <p:nvSpPr>
          <p:cNvPr id="4" name="Slide Number Placeholder 3">
            <a:extLst>
              <a:ext uri="{FF2B5EF4-FFF2-40B4-BE49-F238E27FC236}">
                <a16:creationId xmlns:a16="http://schemas.microsoft.com/office/drawing/2014/main" id="{282C8CB8-52F3-4659-B6D3-8CE56E69D298}"/>
              </a:ext>
            </a:extLst>
          </p:cNvPr>
          <p:cNvSpPr>
            <a:spLocks noGrp="1"/>
          </p:cNvSpPr>
          <p:nvPr>
            <p:ph type="sldNum" sz="quarter" idx="5"/>
          </p:nvPr>
        </p:nvSpPr>
        <p:spPr>
          <a:xfrm>
            <a:off x="7029944" y="9242670"/>
            <a:ext cx="78547" cy="169277"/>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100" b="0" i="0" u="none" strike="noStrike" kern="1200" cap="none" spc="0" normalizeH="0" baseline="0" noProof="0" smtClean="0">
                <a:ln>
                  <a:noFill/>
                </a:ln>
                <a:solidFill>
                  <a:srgbClr val="000000"/>
                </a:solidFill>
                <a:effectLst/>
                <a:uLnTx/>
                <a:uFillTx/>
                <a:latin typeface="Arial"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1</a:t>
            </a:fld>
            <a:endParaRPr kumimoji="0" lang="en-US" sz="1100" b="0" i="0" u="none" strike="noStrike" kern="1200" cap="none" spc="0" normalizeH="0" baseline="0" noProof="0">
              <a:ln>
                <a:noFill/>
              </a:ln>
              <a:solidFill>
                <a:srgbClr val="000000"/>
              </a:solidFill>
              <a:effectLst/>
              <a:uLnTx/>
              <a:uFillTx/>
              <a:latin typeface="Arial" charset="0"/>
              <a:ea typeface="+mn-ea"/>
              <a:cs typeface="Arial" panose="020B0604020202020204" pitchFamily="34" charset="0"/>
            </a:endParaRPr>
          </a:p>
        </p:txBody>
      </p:sp>
    </p:spTree>
    <p:extLst>
      <p:ext uri="{BB962C8B-B14F-4D97-AF65-F5344CB8AC3E}">
        <p14:creationId xmlns:p14="http://schemas.microsoft.com/office/powerpoint/2010/main" val="380207897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a:xfrm>
            <a:off x="258346" y="4250151"/>
            <a:ext cx="6850146" cy="4018536"/>
          </a:xfrm>
        </p:spPr>
        <p:txBody>
          <a:bodyPr/>
          <a:lstStyle/>
          <a:p>
            <a:pPr marL="0" marR="0">
              <a:lnSpc>
                <a:spcPct val="107000"/>
              </a:lnSpc>
              <a:spcBef>
                <a:spcPts val="0"/>
              </a:spcBef>
              <a:spcAft>
                <a:spcPts val="800"/>
              </a:spcAft>
              <a:tabLst>
                <a:tab pos="457200" algn="l"/>
              </a:tabLst>
            </a:pPr>
            <a:r>
              <a:rPr lang="en-US" sz="1100" b="1" u="sng" kern="100" dirty="0">
                <a:effectLst/>
                <a:latin typeface="Calibri" panose="020F0502020204030204" pitchFamily="34" charset="0"/>
                <a:ea typeface="Calibri" panose="020F0502020204030204" pitchFamily="34" charset="0"/>
                <a:cs typeface="Calibri"/>
              </a:rPr>
              <a:t>Though smaller, can still do cool things </a:t>
            </a:r>
          </a:p>
          <a:p>
            <a:pPr marL="0" marR="0">
              <a:lnSpc>
                <a:spcPct val="107000"/>
              </a:lnSpc>
              <a:spcBef>
                <a:spcPts val="0"/>
              </a:spcBef>
              <a:spcAft>
                <a:spcPts val="800"/>
              </a:spcAft>
              <a:tabLst>
                <a:tab pos="457200" algn="l"/>
              </a:tabLst>
            </a:pPr>
            <a:endParaRPr lang="en-US" sz="1100" b="1" u="sng" kern="100" dirty="0">
              <a:effectLst/>
              <a:latin typeface="Calibri" panose="020F0502020204030204" pitchFamily="34" charset="0"/>
              <a:ea typeface="Calibri" panose="020F0502020204030204" pitchFamily="34" charset="0"/>
              <a:cs typeface="Calibri"/>
            </a:endParaRPr>
          </a:p>
          <a:p>
            <a:pPr marL="0" marR="0">
              <a:lnSpc>
                <a:spcPct val="107000"/>
              </a:lnSpc>
              <a:spcBef>
                <a:spcPts val="0"/>
              </a:spcBef>
              <a:spcAft>
                <a:spcPts val="800"/>
              </a:spcAft>
              <a:tabLst>
                <a:tab pos="457200" algn="l"/>
              </a:tabLst>
            </a:pPr>
            <a:r>
              <a:rPr lang="en-US" sz="1100" b="0" u="none" kern="100" dirty="0">
                <a:effectLst/>
                <a:latin typeface="Calibri" panose="020F0502020204030204" pitchFamily="34" charset="0"/>
                <a:ea typeface="Calibri" panose="020F0502020204030204" pitchFamily="34" charset="0"/>
                <a:cs typeface="Calibri"/>
              </a:rPr>
              <a:t>Microbrewery and tap room in </a:t>
            </a:r>
            <a:r>
              <a:rPr lang="en-US" sz="1100" b="0" u="none" kern="100" dirty="0" err="1">
                <a:effectLst/>
                <a:latin typeface="Calibri" panose="020F0502020204030204" pitchFamily="34" charset="0"/>
                <a:ea typeface="Calibri" panose="020F0502020204030204" pitchFamily="34" charset="0"/>
                <a:cs typeface="Calibri"/>
              </a:rPr>
              <a:t>Hamtrack</a:t>
            </a:r>
            <a:r>
              <a:rPr lang="en-US" sz="1100" b="0" u="none" kern="100" dirty="0">
                <a:effectLst/>
                <a:latin typeface="Calibri" panose="020F0502020204030204" pitchFamily="34" charset="0"/>
                <a:ea typeface="Calibri" panose="020F0502020204030204" pitchFamily="34" charset="0"/>
                <a:cs typeface="Calibri"/>
              </a:rPr>
              <a:t> </a:t>
            </a:r>
          </a:p>
          <a:p>
            <a:pPr marL="0" marR="0">
              <a:lnSpc>
                <a:spcPct val="107000"/>
              </a:lnSpc>
              <a:spcBef>
                <a:spcPts val="0"/>
              </a:spcBef>
              <a:spcAft>
                <a:spcPts val="800"/>
              </a:spcAft>
              <a:tabLst>
                <a:tab pos="457200" algn="l"/>
              </a:tabLst>
            </a:pPr>
            <a:endParaRPr lang="en-US" sz="1100" b="1" u="sng" kern="100" dirty="0">
              <a:effectLst/>
              <a:latin typeface="Calibri" panose="020F0502020204030204" pitchFamily="34" charset="0"/>
              <a:ea typeface="Calibri" panose="020F0502020204030204" pitchFamily="34" charset="0"/>
              <a:cs typeface="Calibri"/>
            </a:endParaRPr>
          </a:p>
          <a:p>
            <a:pPr marL="0" marR="0">
              <a:lnSpc>
                <a:spcPct val="107000"/>
              </a:lnSpc>
              <a:spcBef>
                <a:spcPts val="0"/>
              </a:spcBef>
              <a:spcAft>
                <a:spcPts val="800"/>
              </a:spcAft>
              <a:tabLst>
                <a:tab pos="457200" algn="l"/>
              </a:tabLst>
            </a:pPr>
            <a:r>
              <a:rPr lang="en-US" sz="1600" b="0" i="0" dirty="0">
                <a:solidFill>
                  <a:srgbClr val="181818"/>
                </a:solidFill>
                <a:effectLst/>
                <a:highlight>
                  <a:srgbClr val="FFFFFF"/>
                </a:highlight>
                <a:latin typeface="-apple-system"/>
              </a:rPr>
              <a:t>Owners equity 148,418 - 12.2%</a:t>
            </a:r>
            <a:br>
              <a:rPr lang="en-US" sz="1600" dirty="0"/>
            </a:br>
            <a:r>
              <a:rPr lang="en-US" sz="1600" b="0" i="0" dirty="0">
                <a:solidFill>
                  <a:srgbClr val="181818"/>
                </a:solidFill>
                <a:effectLst/>
                <a:highlight>
                  <a:srgbClr val="FFFFFF"/>
                </a:highlight>
                <a:latin typeface="-apple-system"/>
              </a:rPr>
              <a:t>Building 150,000 - 12.3%</a:t>
            </a:r>
            <a:br>
              <a:rPr lang="en-US" sz="1600" dirty="0"/>
            </a:br>
            <a:r>
              <a:rPr lang="en-US" sz="1600" b="0" i="0" dirty="0">
                <a:solidFill>
                  <a:srgbClr val="181818"/>
                </a:solidFill>
                <a:effectLst/>
                <a:highlight>
                  <a:srgbClr val="FFFFFF"/>
                </a:highlight>
                <a:latin typeface="-apple-system"/>
              </a:rPr>
              <a:t>DMCU fin 667,140 - 56%</a:t>
            </a:r>
            <a:br>
              <a:rPr lang="en-US" sz="1600" dirty="0"/>
            </a:br>
            <a:r>
              <a:rPr lang="en-US" sz="1600" b="0" i="0" dirty="0">
                <a:solidFill>
                  <a:srgbClr val="181818"/>
                </a:solidFill>
                <a:effectLst/>
                <a:highlight>
                  <a:srgbClr val="FFFFFF"/>
                </a:highlight>
                <a:latin typeface="-apple-system"/>
              </a:rPr>
              <a:t>MEDC Ask 250,000 - 21% BMC Grant</a:t>
            </a:r>
            <a:endParaRPr lang="en-US" sz="1100" b="1" u="sng" kern="100" dirty="0">
              <a:effectLst/>
              <a:latin typeface="Calibri" panose="020F0502020204030204" pitchFamily="34" charset="0"/>
              <a:ea typeface="Calibri" panose="020F0502020204030204" pitchFamily="34" charset="0"/>
              <a:cs typeface="Calibri"/>
            </a:endParaRPr>
          </a:p>
          <a:p>
            <a:pPr marL="0" marR="0">
              <a:lnSpc>
                <a:spcPct val="107000"/>
              </a:lnSpc>
              <a:spcBef>
                <a:spcPts val="0"/>
              </a:spcBef>
              <a:spcAft>
                <a:spcPts val="800"/>
              </a:spcAft>
              <a:tabLst>
                <a:tab pos="457200" algn="l"/>
              </a:tabLst>
            </a:pPr>
            <a:endParaRPr lang="en-US" sz="1100" b="1" u="sng" kern="100" dirty="0">
              <a:effectLst/>
              <a:latin typeface="Calibri" panose="020F0502020204030204" pitchFamily="34" charset="0"/>
              <a:ea typeface="Calibri" panose="020F0502020204030204" pitchFamily="34" charset="0"/>
              <a:cs typeface="Calibri"/>
            </a:endParaRPr>
          </a:p>
          <a:p>
            <a:pPr marL="0" marR="0">
              <a:lnSpc>
                <a:spcPct val="107000"/>
              </a:lnSpc>
              <a:spcBef>
                <a:spcPts val="0"/>
              </a:spcBef>
              <a:spcAft>
                <a:spcPts val="800"/>
              </a:spcAft>
              <a:tabLst>
                <a:tab pos="457200" algn="l"/>
              </a:tabLst>
            </a:pPr>
            <a:r>
              <a:rPr lang="en-US" sz="1600" b="0" i="0" dirty="0" err="1">
                <a:solidFill>
                  <a:srgbClr val="181818"/>
                </a:solidFill>
                <a:effectLst/>
                <a:highlight>
                  <a:srgbClr val="FFFFFF"/>
                </a:highlight>
                <a:latin typeface="-apple-system"/>
              </a:rPr>
              <a:t>Shilman</a:t>
            </a:r>
            <a:r>
              <a:rPr lang="en-US" sz="1600" b="0" i="0" dirty="0">
                <a:solidFill>
                  <a:srgbClr val="181818"/>
                </a:solidFill>
                <a:effectLst/>
                <a:highlight>
                  <a:srgbClr val="FFFFFF"/>
                </a:highlight>
                <a:latin typeface="-apple-system"/>
              </a:rPr>
              <a:t> Silk Shop LLC is a emerging development team of UofM law graduates who want to be a part of Hamtramck's growth to be more vibrant. A</a:t>
            </a:r>
            <a:endParaRPr lang="en-US" sz="1100" b="1" u="sng" kern="100" dirty="0">
              <a:effectLst/>
              <a:latin typeface="Calibri" panose="020F0502020204030204" pitchFamily="34" charset="0"/>
              <a:ea typeface="Calibri" panose="020F0502020204030204" pitchFamily="34" charset="0"/>
              <a:cs typeface="Calibri"/>
            </a:endParaRPr>
          </a:p>
        </p:txBody>
      </p:sp>
      <p:sp>
        <p:nvSpPr>
          <p:cNvPr id="4" name="Slide Number Placeholder 3"/>
          <p:cNvSpPr>
            <a:spLocks noGrp="1"/>
          </p:cNvSpPr>
          <p:nvPr>
            <p:ph type="sldNum" sz="quarter" idx="5"/>
          </p:nvPr>
        </p:nvSpPr>
        <p:spPr>
          <a:xfrm>
            <a:off x="7029944" y="9242670"/>
            <a:ext cx="78547" cy="169277"/>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100" b="0" i="0" u="none" strike="noStrike" kern="1200" cap="none" spc="0" normalizeH="0" baseline="0" noProof="0" smtClean="0">
                <a:ln>
                  <a:noFill/>
                </a:ln>
                <a:solidFill>
                  <a:srgbClr val="000000"/>
                </a:solidFill>
                <a:effectLst/>
                <a:uLnTx/>
                <a:uFillTx/>
                <a:latin typeface="Arial"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en-US" sz="1100" b="0" i="0" u="none" strike="noStrike" kern="1200" cap="none" spc="0" normalizeH="0" baseline="0" noProof="0">
              <a:ln>
                <a:noFill/>
              </a:ln>
              <a:solidFill>
                <a:srgbClr val="000000"/>
              </a:solidFill>
              <a:effectLst/>
              <a:uLnTx/>
              <a:uFillTx/>
              <a:latin typeface="Arial" charset="0"/>
              <a:ea typeface="+mn-ea"/>
              <a:cs typeface="Arial" panose="020B0604020202020204" pitchFamily="34" charset="0"/>
            </a:endParaRPr>
          </a:p>
        </p:txBody>
      </p:sp>
    </p:spTree>
    <p:extLst>
      <p:ext uri="{BB962C8B-B14F-4D97-AF65-F5344CB8AC3E}">
        <p14:creationId xmlns:p14="http://schemas.microsoft.com/office/powerpoint/2010/main" val="32403274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1883A3-F015-6DF1-80EE-5BBAF990AF6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EF31BEF3-C2FF-8A6F-CB68-B7E0DA565325}"/>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6B7D4BBE-7128-F11C-17A0-269A0F352B52}"/>
              </a:ext>
            </a:extLst>
          </p:cNvPr>
          <p:cNvSpPr>
            <a:spLocks noGrp="1"/>
          </p:cNvSpPr>
          <p:nvPr>
            <p:ph type="body" idx="1"/>
          </p:nvPr>
        </p:nvSpPr>
        <p:spPr>
          <a:xfrm>
            <a:off x="258346" y="4250151"/>
            <a:ext cx="6850146" cy="4018536"/>
          </a:xfrm>
        </p:spPr>
        <p:txBody>
          <a:bodyPr/>
          <a:lstStyle/>
          <a:p>
            <a:pPr marL="0" marR="0">
              <a:lnSpc>
                <a:spcPct val="107000"/>
              </a:lnSpc>
              <a:spcBef>
                <a:spcPts val="0"/>
              </a:spcBef>
              <a:spcAft>
                <a:spcPts val="800"/>
              </a:spcAft>
              <a:tabLst>
                <a:tab pos="457200" algn="l"/>
              </a:tabLst>
            </a:pPr>
            <a:r>
              <a:rPr lang="en-US" sz="1600" b="0" i="0" dirty="0">
                <a:solidFill>
                  <a:srgbClr val="181818"/>
                </a:solidFill>
                <a:effectLst/>
                <a:latin typeface="-apple-system"/>
              </a:rPr>
              <a:t>606 Days Avenue, LLC plans to redevelop an obsolete, vacant, multi-story building into a hospitality center which includes a first-floor restaurant space, outdoor-indoor event space, and 10 units of hotel lodging. The project will support the City of Buchanan’s efforts to activate properties along the Days Avenue Corridor. Upon completion, the project is projected to create 8 full-time positions and 7 full-time-equivalent positions. The project is expected to generate a total capital investment of $3.485 million, which is supported by a $1.25 million performance-based grant from the MEDC. The City of Buchanan is supporting the project through an Obsolete Properties Rehabilitation Act (OPRA) abatement.</a:t>
            </a:r>
            <a:endParaRPr lang="en-US" sz="1100" b="0" u="none" kern="100" dirty="0">
              <a:effectLst/>
              <a:latin typeface="Calibri" panose="020F0502020204030204" pitchFamily="34" charset="0"/>
              <a:ea typeface="Calibri" panose="020F0502020204030204" pitchFamily="34" charset="0"/>
              <a:cs typeface="Calibri"/>
            </a:endParaRPr>
          </a:p>
        </p:txBody>
      </p:sp>
      <p:sp>
        <p:nvSpPr>
          <p:cNvPr id="4" name="Slide Number Placeholder 3">
            <a:extLst>
              <a:ext uri="{FF2B5EF4-FFF2-40B4-BE49-F238E27FC236}">
                <a16:creationId xmlns:a16="http://schemas.microsoft.com/office/drawing/2014/main" id="{22835D81-0E45-A0D8-B5F2-3DC1F8D0222B}"/>
              </a:ext>
            </a:extLst>
          </p:cNvPr>
          <p:cNvSpPr>
            <a:spLocks noGrp="1"/>
          </p:cNvSpPr>
          <p:nvPr>
            <p:ph type="sldNum" sz="quarter" idx="5"/>
          </p:nvPr>
        </p:nvSpPr>
        <p:spPr>
          <a:xfrm>
            <a:off x="7029944" y="9242670"/>
            <a:ext cx="78547" cy="169277"/>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100" b="0" i="0" u="none" strike="noStrike" kern="1200" cap="none" spc="0" normalizeH="0" baseline="0" noProof="0" smtClean="0">
                <a:ln>
                  <a:noFill/>
                </a:ln>
                <a:solidFill>
                  <a:srgbClr val="000000"/>
                </a:solidFill>
                <a:effectLst/>
                <a:uLnTx/>
                <a:uFillTx/>
                <a:latin typeface="Arial"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3</a:t>
            </a:fld>
            <a:endParaRPr kumimoji="0" lang="en-US" sz="1100" b="0" i="0" u="none" strike="noStrike" kern="1200" cap="none" spc="0" normalizeH="0" baseline="0" noProof="0">
              <a:ln>
                <a:noFill/>
              </a:ln>
              <a:solidFill>
                <a:srgbClr val="000000"/>
              </a:solidFill>
              <a:effectLst/>
              <a:uLnTx/>
              <a:uFillTx/>
              <a:latin typeface="Arial" charset="0"/>
              <a:ea typeface="+mn-ea"/>
              <a:cs typeface="Arial" panose="020B0604020202020204" pitchFamily="34" charset="0"/>
            </a:endParaRPr>
          </a:p>
        </p:txBody>
      </p:sp>
    </p:spTree>
    <p:extLst>
      <p:ext uri="{BB962C8B-B14F-4D97-AF65-F5344CB8AC3E}">
        <p14:creationId xmlns:p14="http://schemas.microsoft.com/office/powerpoint/2010/main" val="21420671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F3CE83-5DCA-BEEA-101B-227BD7D312A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15F075D8-5BA4-6DBA-A160-E0C9D0E37860}"/>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43CEF0AB-EC56-470A-D33B-62D7F4311CB0}"/>
              </a:ext>
            </a:extLst>
          </p:cNvPr>
          <p:cNvSpPr>
            <a:spLocks noGrp="1"/>
          </p:cNvSpPr>
          <p:nvPr>
            <p:ph type="body" idx="1"/>
          </p:nvPr>
        </p:nvSpPr>
        <p:spPr>
          <a:xfrm>
            <a:off x="258346" y="4250151"/>
            <a:ext cx="6850146" cy="4018536"/>
          </a:xfrm>
        </p:spPr>
        <p:txBody>
          <a:bodyPr/>
          <a:lstStyle/>
          <a:p>
            <a:pPr marL="0" marR="0">
              <a:lnSpc>
                <a:spcPct val="107000"/>
              </a:lnSpc>
              <a:spcBef>
                <a:spcPts val="0"/>
              </a:spcBef>
              <a:spcAft>
                <a:spcPts val="800"/>
              </a:spcAft>
              <a:tabLst>
                <a:tab pos="457200" algn="l"/>
              </a:tabLst>
            </a:pPr>
            <a:r>
              <a:rPr lang="en-US" sz="1600" b="0" i="0" dirty="0">
                <a:solidFill>
                  <a:srgbClr val="181818"/>
                </a:solidFill>
                <a:effectLst/>
                <a:latin typeface="-apple-system"/>
              </a:rPr>
              <a:t>Redevelopment of a long-vacant commercial building in downtown Marshall into an event space with three boutique hotel rooms; the project will be owned/operated by the same team that owns/operates Schuler's Restaurant in downtown Marshall. Total anticipated capital investment is $3,312,173.</a:t>
            </a:r>
            <a:endParaRPr lang="en-US" sz="1100" b="1" u="sng" kern="100" dirty="0">
              <a:effectLst/>
              <a:latin typeface="Calibri" panose="020F0502020204030204" pitchFamily="34" charset="0"/>
              <a:ea typeface="Calibri" panose="020F0502020204030204" pitchFamily="34" charset="0"/>
              <a:cs typeface="Calibri"/>
            </a:endParaRPr>
          </a:p>
        </p:txBody>
      </p:sp>
      <p:sp>
        <p:nvSpPr>
          <p:cNvPr id="4" name="Slide Number Placeholder 3">
            <a:extLst>
              <a:ext uri="{FF2B5EF4-FFF2-40B4-BE49-F238E27FC236}">
                <a16:creationId xmlns:a16="http://schemas.microsoft.com/office/drawing/2014/main" id="{0ED4E0CB-475D-9FCA-CBFD-757248B985DA}"/>
              </a:ext>
            </a:extLst>
          </p:cNvPr>
          <p:cNvSpPr>
            <a:spLocks noGrp="1"/>
          </p:cNvSpPr>
          <p:nvPr>
            <p:ph type="sldNum" sz="quarter" idx="5"/>
          </p:nvPr>
        </p:nvSpPr>
        <p:spPr>
          <a:xfrm>
            <a:off x="7029944" y="9242670"/>
            <a:ext cx="78547" cy="169277"/>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100" b="0" i="0" u="none" strike="noStrike" kern="1200" cap="none" spc="0" normalizeH="0" baseline="0" noProof="0" smtClean="0">
                <a:ln>
                  <a:noFill/>
                </a:ln>
                <a:solidFill>
                  <a:srgbClr val="000000"/>
                </a:solidFill>
                <a:effectLst/>
                <a:uLnTx/>
                <a:uFillTx/>
                <a:latin typeface="Arial"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sz="1100" b="0" i="0" u="none" strike="noStrike" kern="1200" cap="none" spc="0" normalizeH="0" baseline="0" noProof="0">
              <a:ln>
                <a:noFill/>
              </a:ln>
              <a:solidFill>
                <a:srgbClr val="000000"/>
              </a:solidFill>
              <a:effectLst/>
              <a:uLnTx/>
              <a:uFillTx/>
              <a:latin typeface="Arial" charset="0"/>
              <a:ea typeface="+mn-ea"/>
              <a:cs typeface="Arial" panose="020B0604020202020204" pitchFamily="34" charset="0"/>
            </a:endParaRPr>
          </a:p>
        </p:txBody>
      </p:sp>
    </p:spTree>
    <p:extLst>
      <p:ext uri="{BB962C8B-B14F-4D97-AF65-F5344CB8AC3E}">
        <p14:creationId xmlns:p14="http://schemas.microsoft.com/office/powerpoint/2010/main" val="21559395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D06695-8097-640B-F5F6-38BEAB58BC3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A1AC033-4861-AB06-DB64-6A2F38DA46D6}"/>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DE8A66BC-901C-8511-6E75-294A94A3918C}"/>
              </a:ext>
            </a:extLst>
          </p:cNvPr>
          <p:cNvSpPr>
            <a:spLocks noGrp="1"/>
          </p:cNvSpPr>
          <p:nvPr>
            <p:ph type="body" idx="1"/>
          </p:nvPr>
        </p:nvSpPr>
        <p:spPr>
          <a:xfrm>
            <a:off x="258346" y="4250151"/>
            <a:ext cx="6850146" cy="4018536"/>
          </a:xfrm>
        </p:spPr>
        <p:txBody>
          <a:bodyPr/>
          <a:lstStyle/>
          <a:p>
            <a:pPr marL="0" marR="0">
              <a:lnSpc>
                <a:spcPct val="107000"/>
              </a:lnSpc>
              <a:spcBef>
                <a:spcPts val="0"/>
              </a:spcBef>
              <a:spcAft>
                <a:spcPts val="800"/>
              </a:spcAft>
              <a:tabLst>
                <a:tab pos="457200" algn="l"/>
              </a:tabLst>
            </a:pPr>
            <a:r>
              <a:rPr lang="en-US" sz="1100" b="1" u="sng" kern="100" dirty="0">
                <a:effectLst/>
                <a:latin typeface="Calibri" panose="020F0502020204030204" pitchFamily="34" charset="0"/>
                <a:ea typeface="Calibri" panose="020F0502020204030204" pitchFamily="34" charset="0"/>
                <a:cs typeface="Calibri"/>
              </a:rPr>
              <a:t>The Watershed in </a:t>
            </a:r>
            <a:r>
              <a:rPr lang="en-US" sz="1100" b="1" u="sng" kern="100" dirty="0" err="1">
                <a:effectLst/>
                <a:latin typeface="Calibri" panose="020F0502020204030204" pitchFamily="34" charset="0"/>
                <a:ea typeface="Calibri" panose="020F0502020204030204" pitchFamily="34" charset="0"/>
                <a:cs typeface="Calibri"/>
              </a:rPr>
              <a:t>Strugis</a:t>
            </a:r>
            <a:endParaRPr lang="en-US" sz="1100" b="1" u="sng" kern="100" dirty="0">
              <a:effectLst/>
              <a:latin typeface="Calibri" panose="020F0502020204030204" pitchFamily="34" charset="0"/>
              <a:ea typeface="Calibri" panose="020F0502020204030204" pitchFamily="34" charset="0"/>
              <a:cs typeface="Calibri"/>
            </a:endParaRPr>
          </a:p>
          <a:p>
            <a:pPr marL="0" marR="0">
              <a:lnSpc>
                <a:spcPct val="107000"/>
              </a:lnSpc>
              <a:spcBef>
                <a:spcPts val="0"/>
              </a:spcBef>
              <a:spcAft>
                <a:spcPts val="800"/>
              </a:spcAft>
              <a:tabLst>
                <a:tab pos="457200" algn="l"/>
              </a:tabLst>
            </a:pPr>
            <a:r>
              <a:rPr lang="en-US" sz="1100" b="1" u="sng" kern="100" dirty="0">
                <a:effectLst/>
                <a:latin typeface="Calibri" panose="020F0502020204030204" pitchFamily="34" charset="0"/>
                <a:ea typeface="Calibri" panose="020F0502020204030204" pitchFamily="34" charset="0"/>
                <a:cs typeface="Calibri"/>
              </a:rPr>
              <a:t>Demolished 3 buildings</a:t>
            </a:r>
          </a:p>
          <a:p>
            <a:pPr marL="0" marR="0">
              <a:lnSpc>
                <a:spcPct val="107000"/>
              </a:lnSpc>
              <a:spcBef>
                <a:spcPts val="0"/>
              </a:spcBef>
              <a:spcAft>
                <a:spcPts val="800"/>
              </a:spcAft>
              <a:tabLst>
                <a:tab pos="457200" algn="l"/>
              </a:tabLst>
            </a:pPr>
            <a:r>
              <a:rPr lang="en-US" sz="1100" b="1" u="sng" kern="100" dirty="0">
                <a:effectLst/>
                <a:latin typeface="Calibri" panose="020F0502020204030204" pitchFamily="34" charset="0"/>
                <a:ea typeface="Calibri" panose="020F0502020204030204" pitchFamily="34" charset="0"/>
                <a:cs typeface="Calibri"/>
              </a:rPr>
              <a:t>Constructed five stories – 25+ RUs</a:t>
            </a:r>
          </a:p>
          <a:p>
            <a:pPr marL="0" marR="0">
              <a:lnSpc>
                <a:spcPct val="107000"/>
              </a:lnSpc>
              <a:spcBef>
                <a:spcPts val="0"/>
              </a:spcBef>
              <a:spcAft>
                <a:spcPts val="800"/>
              </a:spcAft>
              <a:tabLst>
                <a:tab pos="457200" algn="l"/>
              </a:tabLst>
            </a:pPr>
            <a:r>
              <a:rPr lang="en-US" sz="1100" b="1" u="sng" kern="100" dirty="0">
                <a:effectLst/>
                <a:latin typeface="Calibri" panose="020F0502020204030204" pitchFamily="34" charset="0"/>
                <a:ea typeface="Calibri" panose="020F0502020204030204" pitchFamily="34" charset="0"/>
                <a:cs typeface="Calibri"/>
              </a:rPr>
              <a:t>TIF + CRP</a:t>
            </a:r>
          </a:p>
          <a:p>
            <a:pPr marL="0" marR="0">
              <a:lnSpc>
                <a:spcPct val="107000"/>
              </a:lnSpc>
              <a:spcBef>
                <a:spcPts val="0"/>
              </a:spcBef>
              <a:spcAft>
                <a:spcPts val="800"/>
              </a:spcAft>
              <a:tabLst>
                <a:tab pos="457200" algn="l"/>
              </a:tabLst>
            </a:pPr>
            <a:r>
              <a:rPr lang="en-US" sz="1100" b="1" u="sng" kern="100" dirty="0">
                <a:effectLst/>
                <a:latin typeface="Calibri" panose="020F0502020204030204" pitchFamily="34" charset="0"/>
                <a:ea typeface="Calibri" panose="020F0502020204030204" pitchFamily="34" charset="0"/>
                <a:cs typeface="Calibri"/>
              </a:rPr>
              <a:t>$16M total, $4m CRP loan</a:t>
            </a:r>
          </a:p>
        </p:txBody>
      </p:sp>
      <p:sp>
        <p:nvSpPr>
          <p:cNvPr id="4" name="Slide Number Placeholder 3">
            <a:extLst>
              <a:ext uri="{FF2B5EF4-FFF2-40B4-BE49-F238E27FC236}">
                <a16:creationId xmlns:a16="http://schemas.microsoft.com/office/drawing/2014/main" id="{6DEA885F-715F-BCD3-A26F-79FE19586033}"/>
              </a:ext>
            </a:extLst>
          </p:cNvPr>
          <p:cNvSpPr>
            <a:spLocks noGrp="1"/>
          </p:cNvSpPr>
          <p:nvPr>
            <p:ph type="sldNum" sz="quarter" idx="5"/>
          </p:nvPr>
        </p:nvSpPr>
        <p:spPr>
          <a:xfrm>
            <a:off x="7029944" y="9242670"/>
            <a:ext cx="78547" cy="169277"/>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100" b="0" i="0" u="none" strike="noStrike" kern="1200" cap="none" spc="0" normalizeH="0" baseline="0" noProof="0" smtClean="0">
                <a:ln>
                  <a:noFill/>
                </a:ln>
                <a:solidFill>
                  <a:srgbClr val="000000"/>
                </a:solidFill>
                <a:effectLst/>
                <a:uLnTx/>
                <a:uFillTx/>
                <a:latin typeface="Arial"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5</a:t>
            </a:fld>
            <a:endParaRPr kumimoji="0" lang="en-US" sz="1100" b="0" i="0" u="none" strike="noStrike" kern="1200" cap="none" spc="0" normalizeH="0" baseline="0" noProof="0">
              <a:ln>
                <a:noFill/>
              </a:ln>
              <a:solidFill>
                <a:srgbClr val="000000"/>
              </a:solidFill>
              <a:effectLst/>
              <a:uLnTx/>
              <a:uFillTx/>
              <a:latin typeface="Arial" charset="0"/>
              <a:ea typeface="+mn-ea"/>
              <a:cs typeface="Arial" panose="020B0604020202020204" pitchFamily="34" charset="0"/>
            </a:endParaRPr>
          </a:p>
        </p:txBody>
      </p:sp>
    </p:spTree>
    <p:extLst>
      <p:ext uri="{BB962C8B-B14F-4D97-AF65-F5344CB8AC3E}">
        <p14:creationId xmlns:p14="http://schemas.microsoft.com/office/powerpoint/2010/main" val="102325332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A8D7698-6C0F-023D-7105-E99E6BB5E81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06C3987-AC45-D1C6-794E-FD01EBF44D91}"/>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20FE8AEA-E6B4-45DD-F3AE-F2D3B12D3980}"/>
              </a:ext>
            </a:extLst>
          </p:cNvPr>
          <p:cNvSpPr>
            <a:spLocks noGrp="1"/>
          </p:cNvSpPr>
          <p:nvPr>
            <p:ph type="body" idx="1"/>
          </p:nvPr>
        </p:nvSpPr>
        <p:spPr/>
        <p:txBody>
          <a:bodyPr/>
          <a:lstStyle/>
          <a:p>
            <a:pPr marL="0" marR="0" indent="0">
              <a:lnSpc>
                <a:spcPct val="107000"/>
              </a:lnSpc>
              <a:spcBef>
                <a:spcPts val="0"/>
              </a:spcBef>
              <a:spcAft>
                <a:spcPts val="0"/>
              </a:spcAft>
              <a:buFont typeface="Arial" panose="020B0604020202020204" pitchFamily="34" charset="0"/>
              <a:buNone/>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a:extLst>
              <a:ext uri="{FF2B5EF4-FFF2-40B4-BE49-F238E27FC236}">
                <a16:creationId xmlns:a16="http://schemas.microsoft.com/office/drawing/2014/main" id="{40EB6931-65FA-F1F6-66C0-6D247909DABE}"/>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D503E8-D1AE-45E0-99BE-FD2615CD26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286976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156D4D-CD73-2729-E317-8C062F1EEBC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3CF48A8-64A0-4F16-41BB-E157FFF8886D}"/>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E4ABA006-B8E6-0E66-8B01-D1D5205EC606}"/>
              </a:ext>
            </a:extLst>
          </p:cNvPr>
          <p:cNvSpPr>
            <a:spLocks noGrp="1"/>
          </p:cNvSpPr>
          <p:nvPr>
            <p:ph type="body" idx="1"/>
          </p:nvPr>
        </p:nvSpPr>
        <p:spPr>
          <a:xfrm>
            <a:off x="258346" y="4250151"/>
            <a:ext cx="6850146" cy="4018536"/>
          </a:xfrm>
        </p:spPr>
        <p:txBody>
          <a:bodyPr/>
          <a:lstStyle/>
          <a:p>
            <a:pPr marL="171450" marR="0" indent="-171450">
              <a:lnSpc>
                <a:spcPct val="107000"/>
              </a:lnSpc>
              <a:spcBef>
                <a:spcPts val="0"/>
              </a:spcBef>
              <a:spcAft>
                <a:spcPts val="800"/>
              </a:spcAft>
              <a:buFont typeface="Arial" panose="020B0604020202020204" pitchFamily="34" charset="0"/>
              <a:buChar char="•"/>
              <a:tabLst>
                <a:tab pos="457200" algn="l"/>
              </a:tabLst>
            </a:pPr>
            <a:endParaRPr lang="en-US" sz="1100" b="0" u="none" kern="100" dirty="0">
              <a:effectLst/>
              <a:latin typeface="Calibri" panose="020F0502020204030204" pitchFamily="34" charset="0"/>
              <a:ea typeface="Calibri" panose="020F0502020204030204" pitchFamily="34" charset="0"/>
              <a:cs typeface="Calibri"/>
            </a:endParaRPr>
          </a:p>
          <a:p>
            <a:pPr marL="0" marR="0">
              <a:lnSpc>
                <a:spcPct val="107000"/>
              </a:lnSpc>
              <a:spcBef>
                <a:spcPts val="0"/>
              </a:spcBef>
              <a:spcAft>
                <a:spcPts val="800"/>
              </a:spcAft>
              <a:tabLst>
                <a:tab pos="457200" algn="l"/>
              </a:tabLst>
            </a:pPr>
            <a:endParaRPr lang="en-US" sz="1100" b="1" u="sng" kern="100" dirty="0">
              <a:effectLst/>
              <a:latin typeface="Calibri" panose="020F0502020204030204" pitchFamily="34" charset="0"/>
              <a:ea typeface="Calibri" panose="020F0502020204030204" pitchFamily="34" charset="0"/>
              <a:cs typeface="Calibri"/>
            </a:endParaRPr>
          </a:p>
        </p:txBody>
      </p:sp>
      <p:sp>
        <p:nvSpPr>
          <p:cNvPr id="4" name="Slide Number Placeholder 3">
            <a:extLst>
              <a:ext uri="{FF2B5EF4-FFF2-40B4-BE49-F238E27FC236}">
                <a16:creationId xmlns:a16="http://schemas.microsoft.com/office/drawing/2014/main" id="{7EC0AF03-EA56-7E1F-BD7F-3FD746DA89E9}"/>
              </a:ext>
            </a:extLst>
          </p:cNvPr>
          <p:cNvSpPr>
            <a:spLocks noGrp="1"/>
          </p:cNvSpPr>
          <p:nvPr>
            <p:ph type="sldNum" sz="quarter" idx="5"/>
          </p:nvPr>
        </p:nvSpPr>
        <p:spPr>
          <a:xfrm>
            <a:off x="7029944" y="9242670"/>
            <a:ext cx="78547" cy="169277"/>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100" b="0" i="0" u="none" strike="noStrike" kern="1200" cap="none" spc="0" normalizeH="0" baseline="0" noProof="0" smtClean="0">
                <a:ln>
                  <a:noFill/>
                </a:ln>
                <a:solidFill>
                  <a:srgbClr val="000000"/>
                </a:solidFill>
                <a:effectLst/>
                <a:uLnTx/>
                <a:uFillTx/>
                <a:latin typeface="Arial"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7</a:t>
            </a:fld>
            <a:endParaRPr kumimoji="0" lang="en-US" sz="1100" b="0" i="0" u="none" strike="noStrike" kern="1200" cap="none" spc="0" normalizeH="0" baseline="0" noProof="0">
              <a:ln>
                <a:noFill/>
              </a:ln>
              <a:solidFill>
                <a:srgbClr val="000000"/>
              </a:solidFill>
              <a:effectLst/>
              <a:uLnTx/>
              <a:uFillTx/>
              <a:latin typeface="Arial" charset="0"/>
              <a:ea typeface="+mn-ea"/>
              <a:cs typeface="Arial" panose="020B0604020202020204" pitchFamily="34" charset="0"/>
            </a:endParaRPr>
          </a:p>
        </p:txBody>
      </p:sp>
    </p:spTree>
    <p:extLst>
      <p:ext uri="{BB962C8B-B14F-4D97-AF65-F5344CB8AC3E}">
        <p14:creationId xmlns:p14="http://schemas.microsoft.com/office/powerpoint/2010/main" val="44952467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endParaRPr lang="en-US" sz="1200" b="1" dirty="0">
              <a:effectLst/>
              <a:latin typeface="Calibri" panose="020F0502020204030204" pitchFamily="34" charset="0"/>
              <a:ea typeface="Times New Roman" panose="02020603050405020304" pitchFamily="18" charset="0"/>
            </a:endParaRPr>
          </a:p>
          <a:p>
            <a:pPr marL="0" marR="0" lvl="0" indent="0" algn="l">
              <a:spcBef>
                <a:spcPts val="0"/>
              </a:spcBef>
              <a:spcAft>
                <a:spcPts val="0"/>
              </a:spcAft>
              <a:buFont typeface="Arial" panose="020B0604020202020204" pitchFamily="34" charset="0"/>
              <a:buNone/>
            </a:pPr>
            <a:endParaRPr lang="en-US" sz="1200" dirty="0">
              <a:effectLst/>
              <a:latin typeface="Calibri" panose="020F0502020204030204" pitchFamily="34" charset="0"/>
              <a:ea typeface="Calibri" panose="020F050202020403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918E7E1-794E-4DCB-BB41-86F444999B1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11364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Economic Development Arm for the state of Michigan.</a:t>
            </a:r>
            <a:br>
              <a:rPr lang="en-US" dirty="0"/>
            </a:br>
            <a:br>
              <a:rPr lang="en-US" dirty="0"/>
            </a:br>
            <a:r>
              <a:rPr lang="en-US" dirty="0"/>
              <a:t>MEDC has many resources to help developer tailored technical assistance for communities across Michigan. </a:t>
            </a:r>
            <a:r>
              <a:rPr lang="en-US" sz="1200" dirty="0">
                <a:effectLst/>
                <a:latin typeface="Aptos" panose="020B0004020202020204" pitchFamily="34" charset="0"/>
                <a:ea typeface="Aptos" panose="020B0004020202020204" pitchFamily="34" charset="0"/>
                <a:cs typeface="Aptos" panose="020B0004020202020204" pitchFamily="34" charset="0"/>
              </a:rPr>
              <a:t>The MEDC has tools and resources to support businesses at any stage of growth. No matter your business size, industry, or your community needs, the MEDC’s many programs and local and regional partners have resources to help you.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endParaRPr lang="en-US" dirty="0"/>
          </a:p>
        </p:txBody>
      </p:sp>
      <p:sp>
        <p:nvSpPr>
          <p:cNvPr id="4" name="Slide Number Placeholder 3"/>
          <p:cNvSpPr>
            <a:spLocks noGrp="1"/>
          </p:cNvSpPr>
          <p:nvPr>
            <p:ph type="sldNum" sz="quarter" idx="5"/>
          </p:nvPr>
        </p:nvSpPr>
        <p:spPr/>
        <p:txBody>
          <a:bodyPr/>
          <a:lstStyle/>
          <a:p>
            <a:fld id="{4918E7E1-794E-4DCB-BB41-86F444999B14}" type="slidenum">
              <a:rPr lang="en-US" smtClean="0"/>
              <a:t>2</a:t>
            </a:fld>
            <a:endParaRPr lang="en-US"/>
          </a:p>
        </p:txBody>
      </p:sp>
    </p:spTree>
    <p:extLst>
      <p:ext uri="{BB962C8B-B14F-4D97-AF65-F5344CB8AC3E}">
        <p14:creationId xmlns:p14="http://schemas.microsoft.com/office/powerpoint/2010/main" val="425626123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nSpc>
                <a:spcPct val="107000"/>
              </a:lnSpc>
              <a:spcBef>
                <a:spcPts val="0"/>
              </a:spcBef>
              <a:spcAft>
                <a:spcPts val="0"/>
              </a:spcAft>
              <a:buFont typeface="Arial" panose="020B0604020202020204" pitchFamily="34" charset="0"/>
              <a:buChar char="•"/>
            </a:pPr>
            <a:endParaRPr lang="en-US" sz="12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D503E8-D1AE-45E0-99BE-FD2615CD266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651406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3FF391-A4ED-8A3F-A830-4F0958136D2F}"/>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CACBF0F5-FD04-B030-9577-6B7A60CA59DD}"/>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B6D3F1EC-2365-EC21-390E-5CD192871663}"/>
              </a:ext>
            </a:extLst>
          </p:cNvPr>
          <p:cNvSpPr>
            <a:spLocks noGrp="1"/>
          </p:cNvSpPr>
          <p:nvPr>
            <p:ph type="body" idx="1"/>
          </p:nvPr>
        </p:nvSpPr>
        <p:spPr>
          <a:xfrm>
            <a:off x="258346" y="4250151"/>
            <a:ext cx="6850146" cy="4018536"/>
          </a:xfrm>
        </p:spPr>
        <p:txBody>
          <a:bodyPr/>
          <a:lstStyle/>
          <a:p>
            <a:pPr marL="171450" marR="0" indent="-171450">
              <a:lnSpc>
                <a:spcPct val="107000"/>
              </a:lnSpc>
              <a:spcBef>
                <a:spcPts val="0"/>
              </a:spcBef>
              <a:spcAft>
                <a:spcPts val="800"/>
              </a:spcAft>
              <a:buFont typeface="Arial" panose="020B0604020202020204" pitchFamily="34" charset="0"/>
              <a:buChar char="•"/>
              <a:tabLst>
                <a:tab pos="457200" algn="l"/>
              </a:tabLst>
            </a:pPr>
            <a:endParaRPr lang="en-US" sz="1100" b="0" u="none" kern="100" dirty="0">
              <a:effectLst/>
              <a:latin typeface="Calibri" panose="020F0502020204030204" pitchFamily="34" charset="0"/>
              <a:ea typeface="Calibri" panose="020F0502020204030204" pitchFamily="34" charset="0"/>
              <a:cs typeface="Calibri"/>
            </a:endParaRPr>
          </a:p>
          <a:p>
            <a:pPr marL="0" marR="0">
              <a:lnSpc>
                <a:spcPct val="107000"/>
              </a:lnSpc>
              <a:spcBef>
                <a:spcPts val="0"/>
              </a:spcBef>
              <a:spcAft>
                <a:spcPts val="800"/>
              </a:spcAft>
              <a:tabLst>
                <a:tab pos="457200" algn="l"/>
              </a:tabLst>
            </a:pPr>
            <a:endParaRPr lang="en-US" sz="1100" b="1" u="sng" kern="100" dirty="0">
              <a:effectLst/>
              <a:latin typeface="Calibri" panose="020F0502020204030204" pitchFamily="34" charset="0"/>
              <a:ea typeface="Calibri" panose="020F0502020204030204" pitchFamily="34" charset="0"/>
              <a:cs typeface="Calibri"/>
            </a:endParaRPr>
          </a:p>
        </p:txBody>
      </p:sp>
      <p:sp>
        <p:nvSpPr>
          <p:cNvPr id="4" name="Slide Number Placeholder 3">
            <a:extLst>
              <a:ext uri="{FF2B5EF4-FFF2-40B4-BE49-F238E27FC236}">
                <a16:creationId xmlns:a16="http://schemas.microsoft.com/office/drawing/2014/main" id="{D5932C23-A2E7-AB00-1864-FF17D4F7408D}"/>
              </a:ext>
            </a:extLst>
          </p:cNvPr>
          <p:cNvSpPr>
            <a:spLocks noGrp="1"/>
          </p:cNvSpPr>
          <p:nvPr>
            <p:ph type="sldNum" sz="quarter" idx="5"/>
          </p:nvPr>
        </p:nvSpPr>
        <p:spPr>
          <a:xfrm>
            <a:off x="7029944" y="9242670"/>
            <a:ext cx="78547" cy="169277"/>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100" b="0" i="0" u="none" strike="noStrike" kern="1200" cap="none" spc="0" normalizeH="0" baseline="0" noProof="0" smtClean="0">
                <a:ln>
                  <a:noFill/>
                </a:ln>
                <a:solidFill>
                  <a:srgbClr val="000000"/>
                </a:solidFill>
                <a:effectLst/>
                <a:uLnTx/>
                <a:uFillTx/>
                <a:latin typeface="Arial"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sz="1100" b="0" i="0" u="none" strike="noStrike" kern="1200" cap="none" spc="0" normalizeH="0" baseline="0" noProof="0">
              <a:ln>
                <a:noFill/>
              </a:ln>
              <a:solidFill>
                <a:srgbClr val="000000"/>
              </a:solidFill>
              <a:effectLst/>
              <a:uLnTx/>
              <a:uFillTx/>
              <a:latin typeface="Arial" charset="0"/>
              <a:ea typeface="+mn-ea"/>
              <a:cs typeface="Arial" panose="020B0604020202020204" pitchFamily="34" charset="0"/>
            </a:endParaRPr>
          </a:p>
        </p:txBody>
      </p:sp>
    </p:spTree>
    <p:extLst>
      <p:ext uri="{BB962C8B-B14F-4D97-AF65-F5344CB8AC3E}">
        <p14:creationId xmlns:p14="http://schemas.microsoft.com/office/powerpoint/2010/main" val="1647133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3BD524-B782-4A11-E5A5-1D27CCEC9C4A}"/>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683BCCC-BE56-5B52-5F86-2EDE255D6EFE}"/>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6D3BAEA1-769F-BCA4-8F6C-D484047F81EC}"/>
              </a:ext>
            </a:extLst>
          </p:cNvPr>
          <p:cNvSpPr>
            <a:spLocks noGrp="1"/>
          </p:cNvSpPr>
          <p:nvPr>
            <p:ph type="body" idx="1"/>
          </p:nvPr>
        </p:nvSpPr>
        <p:spPr>
          <a:xfrm>
            <a:off x="258346" y="4250151"/>
            <a:ext cx="6850146" cy="4018536"/>
          </a:xfrm>
        </p:spPr>
        <p:txBody>
          <a:bodyPr/>
          <a:lstStyle/>
          <a:p>
            <a:pPr marL="171450" marR="0" indent="-171450">
              <a:lnSpc>
                <a:spcPct val="107000"/>
              </a:lnSpc>
              <a:spcBef>
                <a:spcPts val="0"/>
              </a:spcBef>
              <a:spcAft>
                <a:spcPts val="800"/>
              </a:spcAft>
              <a:buFont typeface="Arial" panose="020B0604020202020204" pitchFamily="34" charset="0"/>
              <a:buChar char="•"/>
              <a:tabLst>
                <a:tab pos="457200" algn="l"/>
              </a:tabLst>
            </a:pPr>
            <a:endParaRPr lang="en-US" sz="1100" b="0" u="none" kern="100" dirty="0">
              <a:effectLst/>
              <a:latin typeface="Calibri" panose="020F0502020204030204" pitchFamily="34" charset="0"/>
              <a:ea typeface="Calibri" panose="020F0502020204030204" pitchFamily="34" charset="0"/>
              <a:cs typeface="Calibri"/>
            </a:endParaRPr>
          </a:p>
          <a:p>
            <a:pPr marL="0" marR="0">
              <a:lnSpc>
                <a:spcPct val="107000"/>
              </a:lnSpc>
              <a:spcBef>
                <a:spcPts val="0"/>
              </a:spcBef>
              <a:spcAft>
                <a:spcPts val="800"/>
              </a:spcAft>
              <a:tabLst>
                <a:tab pos="457200" algn="l"/>
              </a:tabLst>
            </a:pPr>
            <a:endParaRPr lang="en-US" sz="1100" b="1" u="sng" kern="100" dirty="0">
              <a:effectLst/>
              <a:latin typeface="Calibri" panose="020F0502020204030204" pitchFamily="34" charset="0"/>
              <a:ea typeface="Calibri" panose="020F0502020204030204" pitchFamily="34" charset="0"/>
              <a:cs typeface="Calibri"/>
            </a:endParaRPr>
          </a:p>
        </p:txBody>
      </p:sp>
      <p:sp>
        <p:nvSpPr>
          <p:cNvPr id="4" name="Slide Number Placeholder 3">
            <a:extLst>
              <a:ext uri="{FF2B5EF4-FFF2-40B4-BE49-F238E27FC236}">
                <a16:creationId xmlns:a16="http://schemas.microsoft.com/office/drawing/2014/main" id="{9E360D59-C374-9F60-AFBF-FD12F209E10D}"/>
              </a:ext>
            </a:extLst>
          </p:cNvPr>
          <p:cNvSpPr>
            <a:spLocks noGrp="1"/>
          </p:cNvSpPr>
          <p:nvPr>
            <p:ph type="sldNum" sz="quarter" idx="5"/>
          </p:nvPr>
        </p:nvSpPr>
        <p:spPr>
          <a:xfrm>
            <a:off x="7029944" y="9242670"/>
            <a:ext cx="78547" cy="169277"/>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100" b="0" i="0" u="none" strike="noStrike" kern="1200" cap="none" spc="0" normalizeH="0" baseline="0" noProof="0" smtClean="0">
                <a:ln>
                  <a:noFill/>
                </a:ln>
                <a:solidFill>
                  <a:srgbClr val="000000"/>
                </a:solidFill>
                <a:effectLst/>
                <a:uLnTx/>
                <a:uFillTx/>
                <a:latin typeface="Arial"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US" sz="1100" b="0" i="0" u="none" strike="noStrike" kern="1200" cap="none" spc="0" normalizeH="0" baseline="0" noProof="0">
              <a:ln>
                <a:noFill/>
              </a:ln>
              <a:solidFill>
                <a:srgbClr val="000000"/>
              </a:solidFill>
              <a:effectLst/>
              <a:uLnTx/>
              <a:uFillTx/>
              <a:latin typeface="Arial" charset="0"/>
              <a:ea typeface="+mn-ea"/>
              <a:cs typeface="Arial" panose="020B0604020202020204" pitchFamily="34" charset="0"/>
            </a:endParaRPr>
          </a:p>
        </p:txBody>
      </p:sp>
    </p:spTree>
    <p:extLst>
      <p:ext uri="{BB962C8B-B14F-4D97-AF65-F5344CB8AC3E}">
        <p14:creationId xmlns:p14="http://schemas.microsoft.com/office/powerpoint/2010/main" val="13539098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9652476-0C55-8E28-34FD-78DA7C88359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64997F8-7537-EC58-3D09-CB5F7D4E2CBF}"/>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DF817636-C782-3048-8CB5-2A6F1198D60E}"/>
              </a:ext>
            </a:extLst>
          </p:cNvPr>
          <p:cNvSpPr>
            <a:spLocks noGrp="1"/>
          </p:cNvSpPr>
          <p:nvPr>
            <p:ph type="body" idx="1"/>
          </p:nvPr>
        </p:nvSpPr>
        <p:spPr>
          <a:xfrm>
            <a:off x="258346" y="4250151"/>
            <a:ext cx="6850146" cy="4018536"/>
          </a:xfrm>
        </p:spPr>
        <p:txBody>
          <a:bodyPr/>
          <a:lstStyle/>
          <a:p>
            <a:pPr marL="171450" marR="0" indent="-171450">
              <a:lnSpc>
                <a:spcPct val="107000"/>
              </a:lnSpc>
              <a:spcBef>
                <a:spcPts val="0"/>
              </a:spcBef>
              <a:spcAft>
                <a:spcPts val="800"/>
              </a:spcAft>
              <a:buFont typeface="Arial" panose="020B0604020202020204" pitchFamily="34" charset="0"/>
              <a:buChar char="•"/>
              <a:tabLst>
                <a:tab pos="457200" algn="l"/>
              </a:tabLst>
            </a:pPr>
            <a:endParaRPr lang="en-US" sz="1100" b="0" u="none" kern="100" dirty="0">
              <a:effectLst/>
              <a:latin typeface="Calibri" panose="020F0502020204030204" pitchFamily="34" charset="0"/>
              <a:ea typeface="Calibri" panose="020F0502020204030204" pitchFamily="34" charset="0"/>
              <a:cs typeface="Calibri"/>
            </a:endParaRPr>
          </a:p>
          <a:p>
            <a:pPr marL="0" marR="0">
              <a:lnSpc>
                <a:spcPct val="107000"/>
              </a:lnSpc>
              <a:spcBef>
                <a:spcPts val="0"/>
              </a:spcBef>
              <a:spcAft>
                <a:spcPts val="800"/>
              </a:spcAft>
              <a:tabLst>
                <a:tab pos="457200" algn="l"/>
              </a:tabLst>
            </a:pPr>
            <a:endParaRPr lang="en-US" sz="1100" b="1" u="sng" kern="100" dirty="0">
              <a:effectLst/>
              <a:latin typeface="Calibri" panose="020F0502020204030204" pitchFamily="34" charset="0"/>
              <a:ea typeface="Calibri" panose="020F0502020204030204" pitchFamily="34" charset="0"/>
              <a:cs typeface="Calibri"/>
            </a:endParaRPr>
          </a:p>
        </p:txBody>
      </p:sp>
      <p:sp>
        <p:nvSpPr>
          <p:cNvPr id="4" name="Slide Number Placeholder 3">
            <a:extLst>
              <a:ext uri="{FF2B5EF4-FFF2-40B4-BE49-F238E27FC236}">
                <a16:creationId xmlns:a16="http://schemas.microsoft.com/office/drawing/2014/main" id="{E46F9E46-A78C-817D-A1FF-77BB30C73927}"/>
              </a:ext>
            </a:extLst>
          </p:cNvPr>
          <p:cNvSpPr>
            <a:spLocks noGrp="1"/>
          </p:cNvSpPr>
          <p:nvPr>
            <p:ph type="sldNum" sz="quarter" idx="5"/>
          </p:nvPr>
        </p:nvSpPr>
        <p:spPr>
          <a:xfrm>
            <a:off x="7029944" y="9242670"/>
            <a:ext cx="78547" cy="169277"/>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100" b="0" i="0" u="none" strike="noStrike" kern="1200" cap="none" spc="0" normalizeH="0" baseline="0" noProof="0" smtClean="0">
                <a:ln>
                  <a:noFill/>
                </a:ln>
                <a:solidFill>
                  <a:srgbClr val="000000"/>
                </a:solidFill>
                <a:effectLst/>
                <a:uLnTx/>
                <a:uFillTx/>
                <a:latin typeface="Arial"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US" sz="1100" b="0" i="0" u="none" strike="noStrike" kern="1200" cap="none" spc="0" normalizeH="0" baseline="0" noProof="0">
              <a:ln>
                <a:noFill/>
              </a:ln>
              <a:solidFill>
                <a:srgbClr val="000000"/>
              </a:solidFill>
              <a:effectLst/>
              <a:uLnTx/>
              <a:uFillTx/>
              <a:latin typeface="Arial" charset="0"/>
              <a:ea typeface="+mn-ea"/>
              <a:cs typeface="Arial" panose="020B0604020202020204" pitchFamily="34" charset="0"/>
            </a:endParaRPr>
          </a:p>
        </p:txBody>
      </p:sp>
    </p:spTree>
    <p:extLst>
      <p:ext uri="{BB962C8B-B14F-4D97-AF65-F5344CB8AC3E}">
        <p14:creationId xmlns:p14="http://schemas.microsoft.com/office/powerpoint/2010/main" val="1244477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BC2D186-99A2-BCBB-02AB-BE6A1CEA2EA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6C4BE76-36DA-C401-D087-3E65E45D7750}"/>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7D124D09-1669-9DD5-4516-60151354C2C3}"/>
              </a:ext>
            </a:extLst>
          </p:cNvPr>
          <p:cNvSpPr>
            <a:spLocks noGrp="1"/>
          </p:cNvSpPr>
          <p:nvPr>
            <p:ph type="body" idx="1"/>
          </p:nvPr>
        </p:nvSpPr>
        <p:spPr>
          <a:xfrm>
            <a:off x="258346" y="4250151"/>
            <a:ext cx="6850146" cy="4018536"/>
          </a:xfrm>
        </p:spPr>
        <p:txBody>
          <a:bodyPr/>
          <a:lstStyle/>
          <a:p>
            <a:pPr marL="171450" marR="0" indent="-171450">
              <a:lnSpc>
                <a:spcPct val="107000"/>
              </a:lnSpc>
              <a:spcBef>
                <a:spcPts val="0"/>
              </a:spcBef>
              <a:spcAft>
                <a:spcPts val="800"/>
              </a:spcAft>
              <a:buFont typeface="Arial" panose="020B0604020202020204" pitchFamily="34" charset="0"/>
              <a:buChar char="•"/>
              <a:tabLst>
                <a:tab pos="457200" algn="l"/>
              </a:tabLst>
            </a:pPr>
            <a:endParaRPr lang="en-US" sz="1100" b="0" u="none" kern="100" dirty="0">
              <a:effectLst/>
              <a:latin typeface="Calibri" panose="020F0502020204030204" pitchFamily="34" charset="0"/>
              <a:ea typeface="Calibri" panose="020F0502020204030204" pitchFamily="34" charset="0"/>
              <a:cs typeface="Calibri"/>
            </a:endParaRPr>
          </a:p>
          <a:p>
            <a:pPr marL="0" marR="0">
              <a:lnSpc>
                <a:spcPct val="107000"/>
              </a:lnSpc>
              <a:spcBef>
                <a:spcPts val="0"/>
              </a:spcBef>
              <a:spcAft>
                <a:spcPts val="800"/>
              </a:spcAft>
              <a:tabLst>
                <a:tab pos="457200" algn="l"/>
              </a:tabLst>
            </a:pPr>
            <a:endParaRPr lang="en-US" sz="1100" b="1" u="sng" kern="100" dirty="0">
              <a:effectLst/>
              <a:latin typeface="Calibri" panose="020F0502020204030204" pitchFamily="34" charset="0"/>
              <a:ea typeface="Calibri" panose="020F0502020204030204" pitchFamily="34" charset="0"/>
              <a:cs typeface="Calibri"/>
            </a:endParaRPr>
          </a:p>
        </p:txBody>
      </p:sp>
      <p:sp>
        <p:nvSpPr>
          <p:cNvPr id="4" name="Slide Number Placeholder 3">
            <a:extLst>
              <a:ext uri="{FF2B5EF4-FFF2-40B4-BE49-F238E27FC236}">
                <a16:creationId xmlns:a16="http://schemas.microsoft.com/office/drawing/2014/main" id="{2635B7C5-487D-5A5B-3650-DA2F7B016E1B}"/>
              </a:ext>
            </a:extLst>
          </p:cNvPr>
          <p:cNvSpPr>
            <a:spLocks noGrp="1"/>
          </p:cNvSpPr>
          <p:nvPr>
            <p:ph type="sldNum" sz="quarter" idx="5"/>
          </p:nvPr>
        </p:nvSpPr>
        <p:spPr>
          <a:xfrm>
            <a:off x="7029944" y="9242670"/>
            <a:ext cx="78547" cy="169277"/>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100" b="0" i="0" u="none" strike="noStrike" kern="1200" cap="none" spc="0" normalizeH="0" baseline="0" noProof="0" smtClean="0">
                <a:ln>
                  <a:noFill/>
                </a:ln>
                <a:solidFill>
                  <a:srgbClr val="000000"/>
                </a:solidFill>
                <a:effectLst/>
                <a:uLnTx/>
                <a:uFillTx/>
                <a:latin typeface="Arial"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US" sz="1100" b="0" i="0" u="none" strike="noStrike" kern="1200" cap="none" spc="0" normalizeH="0" baseline="0" noProof="0">
              <a:ln>
                <a:noFill/>
              </a:ln>
              <a:solidFill>
                <a:srgbClr val="000000"/>
              </a:solidFill>
              <a:effectLst/>
              <a:uLnTx/>
              <a:uFillTx/>
              <a:latin typeface="Arial" charset="0"/>
              <a:ea typeface="+mn-ea"/>
              <a:cs typeface="Arial" panose="020B0604020202020204" pitchFamily="34" charset="0"/>
            </a:endParaRPr>
          </a:p>
        </p:txBody>
      </p:sp>
    </p:spTree>
    <p:extLst>
      <p:ext uri="{BB962C8B-B14F-4D97-AF65-F5344CB8AC3E}">
        <p14:creationId xmlns:p14="http://schemas.microsoft.com/office/powerpoint/2010/main" val="24850384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40EF5DC-56F1-3DEE-9F9D-AC6D887B7DF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448EA8D-EF4D-868C-D730-B7825BB92EF6}"/>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62659960-2460-7B51-B682-7C435EC0D168}"/>
              </a:ext>
            </a:extLst>
          </p:cNvPr>
          <p:cNvSpPr>
            <a:spLocks noGrp="1"/>
          </p:cNvSpPr>
          <p:nvPr>
            <p:ph type="body" idx="1"/>
          </p:nvPr>
        </p:nvSpPr>
        <p:spPr>
          <a:xfrm>
            <a:off x="258346" y="4250151"/>
            <a:ext cx="6850146" cy="4018536"/>
          </a:xfrm>
        </p:spPr>
        <p:txBody>
          <a:bodyPr/>
          <a:lstStyle/>
          <a:p>
            <a:pPr marL="171450" marR="0" indent="-171450">
              <a:lnSpc>
                <a:spcPct val="107000"/>
              </a:lnSpc>
              <a:spcBef>
                <a:spcPts val="0"/>
              </a:spcBef>
              <a:spcAft>
                <a:spcPts val="800"/>
              </a:spcAft>
              <a:buFont typeface="Arial" panose="020B0604020202020204" pitchFamily="34" charset="0"/>
              <a:buChar char="•"/>
              <a:tabLst>
                <a:tab pos="457200" algn="l"/>
              </a:tabLst>
            </a:pPr>
            <a:endParaRPr lang="en-US" sz="1100" b="0" u="none" kern="100" dirty="0">
              <a:effectLst/>
              <a:latin typeface="Calibri" panose="020F0502020204030204" pitchFamily="34" charset="0"/>
              <a:ea typeface="Calibri" panose="020F0502020204030204" pitchFamily="34" charset="0"/>
              <a:cs typeface="Calibri"/>
            </a:endParaRPr>
          </a:p>
          <a:p>
            <a:pPr marL="0" marR="0">
              <a:lnSpc>
                <a:spcPct val="107000"/>
              </a:lnSpc>
              <a:spcBef>
                <a:spcPts val="0"/>
              </a:spcBef>
              <a:spcAft>
                <a:spcPts val="800"/>
              </a:spcAft>
              <a:tabLst>
                <a:tab pos="457200" algn="l"/>
              </a:tabLst>
            </a:pPr>
            <a:endParaRPr lang="en-US" sz="1100" b="1" u="sng" kern="100" dirty="0">
              <a:effectLst/>
              <a:latin typeface="Calibri" panose="020F0502020204030204" pitchFamily="34" charset="0"/>
              <a:ea typeface="Calibri" panose="020F0502020204030204" pitchFamily="34" charset="0"/>
              <a:cs typeface="Calibri"/>
            </a:endParaRPr>
          </a:p>
        </p:txBody>
      </p:sp>
      <p:sp>
        <p:nvSpPr>
          <p:cNvPr id="4" name="Slide Number Placeholder 3">
            <a:extLst>
              <a:ext uri="{FF2B5EF4-FFF2-40B4-BE49-F238E27FC236}">
                <a16:creationId xmlns:a16="http://schemas.microsoft.com/office/drawing/2014/main" id="{CF5DF6D3-056D-5827-C043-5568C3260C02}"/>
              </a:ext>
            </a:extLst>
          </p:cNvPr>
          <p:cNvSpPr>
            <a:spLocks noGrp="1"/>
          </p:cNvSpPr>
          <p:nvPr>
            <p:ph type="sldNum" sz="quarter" idx="5"/>
          </p:nvPr>
        </p:nvSpPr>
        <p:spPr>
          <a:xfrm>
            <a:off x="7029944" y="9242670"/>
            <a:ext cx="78547" cy="169277"/>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100" b="0" i="0" u="none" strike="noStrike" kern="1200" cap="none" spc="0" normalizeH="0" baseline="0" noProof="0" smtClean="0">
                <a:ln>
                  <a:noFill/>
                </a:ln>
                <a:solidFill>
                  <a:srgbClr val="000000"/>
                </a:solidFill>
                <a:effectLst/>
                <a:uLnTx/>
                <a:uFillTx/>
                <a:latin typeface="Arial"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9</a:t>
            </a:fld>
            <a:endParaRPr kumimoji="0" lang="en-US" sz="1100" b="0" i="0" u="none" strike="noStrike" kern="1200" cap="none" spc="0" normalizeH="0" baseline="0" noProof="0">
              <a:ln>
                <a:noFill/>
              </a:ln>
              <a:solidFill>
                <a:srgbClr val="000000"/>
              </a:solidFill>
              <a:effectLst/>
              <a:uLnTx/>
              <a:uFillTx/>
              <a:latin typeface="Arial" charset="0"/>
              <a:ea typeface="+mn-ea"/>
              <a:cs typeface="Arial" panose="020B0604020202020204" pitchFamily="34" charset="0"/>
            </a:endParaRPr>
          </a:p>
        </p:txBody>
      </p:sp>
    </p:spTree>
    <p:extLst>
      <p:ext uri="{BB962C8B-B14F-4D97-AF65-F5344CB8AC3E}">
        <p14:creationId xmlns:p14="http://schemas.microsoft.com/office/powerpoint/2010/main" val="239340593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A6602FD-1FDF-B02A-5E78-4309E76CFFD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51D769C-9B03-6AB2-0EB6-6A657D344C1D}"/>
              </a:ext>
            </a:extLst>
          </p:cNvPr>
          <p:cNvSpPr>
            <a:spLocks noGrp="1" noRot="1" noChangeAspect="1"/>
          </p:cNvSpPr>
          <p:nvPr>
            <p:ph type="sldImg"/>
          </p:nvPr>
        </p:nvSpPr>
        <p:spPr>
          <a:xfrm>
            <a:off x="735013" y="563563"/>
            <a:ext cx="5632450" cy="3168650"/>
          </a:xfrm>
        </p:spPr>
      </p:sp>
      <p:sp>
        <p:nvSpPr>
          <p:cNvPr id="3" name="Notes Placeholder 2">
            <a:extLst>
              <a:ext uri="{FF2B5EF4-FFF2-40B4-BE49-F238E27FC236}">
                <a16:creationId xmlns:a16="http://schemas.microsoft.com/office/drawing/2014/main" id="{175F14EF-A732-3394-1105-FBB4645D763E}"/>
              </a:ext>
            </a:extLst>
          </p:cNvPr>
          <p:cNvSpPr>
            <a:spLocks noGrp="1"/>
          </p:cNvSpPr>
          <p:nvPr>
            <p:ph type="body" idx="1"/>
          </p:nvPr>
        </p:nvSpPr>
        <p:spPr>
          <a:xfrm>
            <a:off x="258346" y="4250151"/>
            <a:ext cx="6850146" cy="4018536"/>
          </a:xfrm>
        </p:spPr>
        <p:txBody>
          <a:bodyPr/>
          <a:lstStyle/>
          <a:p>
            <a:pPr marL="171450" marR="0" indent="-171450">
              <a:lnSpc>
                <a:spcPct val="107000"/>
              </a:lnSpc>
              <a:spcBef>
                <a:spcPts val="0"/>
              </a:spcBef>
              <a:spcAft>
                <a:spcPts val="800"/>
              </a:spcAft>
              <a:buFont typeface="Arial" panose="020B0604020202020204" pitchFamily="34" charset="0"/>
              <a:buChar char="•"/>
              <a:tabLst>
                <a:tab pos="457200" algn="l"/>
              </a:tabLst>
            </a:pPr>
            <a:endParaRPr lang="en-US" sz="1100" b="0" u="none" kern="100" dirty="0">
              <a:effectLst/>
              <a:latin typeface="Calibri" panose="020F0502020204030204" pitchFamily="34" charset="0"/>
              <a:ea typeface="Calibri" panose="020F0502020204030204" pitchFamily="34" charset="0"/>
              <a:cs typeface="Calibri"/>
            </a:endParaRPr>
          </a:p>
          <a:p>
            <a:pPr marL="0" marR="0">
              <a:lnSpc>
                <a:spcPct val="107000"/>
              </a:lnSpc>
              <a:spcBef>
                <a:spcPts val="0"/>
              </a:spcBef>
              <a:spcAft>
                <a:spcPts val="800"/>
              </a:spcAft>
              <a:tabLst>
                <a:tab pos="457200" algn="l"/>
              </a:tabLst>
            </a:pPr>
            <a:endParaRPr lang="en-US" sz="1100" b="1" u="sng" kern="100" dirty="0">
              <a:effectLst/>
              <a:latin typeface="Calibri" panose="020F0502020204030204" pitchFamily="34" charset="0"/>
              <a:ea typeface="Calibri" panose="020F0502020204030204" pitchFamily="34" charset="0"/>
              <a:cs typeface="Calibri"/>
            </a:endParaRPr>
          </a:p>
        </p:txBody>
      </p:sp>
      <p:sp>
        <p:nvSpPr>
          <p:cNvPr id="4" name="Slide Number Placeholder 3">
            <a:extLst>
              <a:ext uri="{FF2B5EF4-FFF2-40B4-BE49-F238E27FC236}">
                <a16:creationId xmlns:a16="http://schemas.microsoft.com/office/drawing/2014/main" id="{07FEA8C5-1E32-C3DB-44E4-B93F26C41014}"/>
              </a:ext>
            </a:extLst>
          </p:cNvPr>
          <p:cNvSpPr>
            <a:spLocks noGrp="1"/>
          </p:cNvSpPr>
          <p:nvPr>
            <p:ph type="sldNum" sz="quarter" idx="5"/>
          </p:nvPr>
        </p:nvSpPr>
        <p:spPr>
          <a:xfrm>
            <a:off x="7029944" y="9242670"/>
            <a:ext cx="78547" cy="169277"/>
          </a:xfrm>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3C3A632B-FBDE-46D4-BF6F-6D14421E6342}" type="slidenum">
              <a:rPr kumimoji="0" lang="en-US" sz="1100" b="0" i="0" u="none" strike="noStrike" kern="1200" cap="none" spc="0" normalizeH="0" baseline="0" noProof="0" smtClean="0">
                <a:ln>
                  <a:noFill/>
                </a:ln>
                <a:solidFill>
                  <a:srgbClr val="000000"/>
                </a:solidFill>
                <a:effectLst/>
                <a:uLnTx/>
                <a:uFillTx/>
                <a:latin typeface="Arial"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0</a:t>
            </a:fld>
            <a:endParaRPr kumimoji="0" lang="en-US" sz="1100" b="0" i="0" u="none" strike="noStrike" kern="1200" cap="none" spc="0" normalizeH="0" baseline="0" noProof="0">
              <a:ln>
                <a:noFill/>
              </a:ln>
              <a:solidFill>
                <a:srgbClr val="000000"/>
              </a:solidFill>
              <a:effectLst/>
              <a:uLnTx/>
              <a:uFillTx/>
              <a:latin typeface="Arial" charset="0"/>
              <a:ea typeface="+mn-ea"/>
              <a:cs typeface="Arial" panose="020B0604020202020204" pitchFamily="34" charset="0"/>
            </a:endParaRPr>
          </a:p>
        </p:txBody>
      </p:sp>
    </p:spTree>
    <p:extLst>
      <p:ext uri="{BB962C8B-B14F-4D97-AF65-F5344CB8AC3E}">
        <p14:creationId xmlns:p14="http://schemas.microsoft.com/office/powerpoint/2010/main" val="375450642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tif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7.jpeg"/><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8.emf"/><Relationship Id="rId4" Type="http://schemas.openxmlformats.org/officeDocument/2006/relationships/oleObject" Target="../embeddings/oleObject3.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AD68D4-CCBB-C19B-ACA6-E91164037B0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5179CC9D-4323-96D6-6887-3B2981B6A777}"/>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9F8239FC-BDDF-DABC-B534-96E26A45317B}"/>
              </a:ext>
            </a:extLst>
          </p:cNvPr>
          <p:cNvSpPr>
            <a:spLocks noGrp="1"/>
          </p:cNvSpPr>
          <p:nvPr>
            <p:ph type="dt" sz="half" idx="10"/>
          </p:nvPr>
        </p:nvSpPr>
        <p:spPr/>
        <p:txBody>
          <a:bodyPr/>
          <a:lstStyle/>
          <a:p>
            <a:fld id="{517E127A-F89D-45F1-89CD-357342A92CF5}" type="datetimeFigureOut">
              <a:rPr lang="en-US" smtClean="0"/>
              <a:t>4/2/2025</a:t>
            </a:fld>
            <a:endParaRPr lang="en-US"/>
          </a:p>
        </p:txBody>
      </p:sp>
      <p:sp>
        <p:nvSpPr>
          <p:cNvPr id="5" name="Footer Placeholder 4">
            <a:extLst>
              <a:ext uri="{FF2B5EF4-FFF2-40B4-BE49-F238E27FC236}">
                <a16:creationId xmlns:a16="http://schemas.microsoft.com/office/drawing/2014/main" id="{5C018AED-9AB4-A8F0-414C-39D640B77E9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83D534A-9929-A2F7-DEC0-0E5C43683788}"/>
              </a:ext>
            </a:extLst>
          </p:cNvPr>
          <p:cNvSpPr>
            <a:spLocks noGrp="1"/>
          </p:cNvSpPr>
          <p:nvPr>
            <p:ph type="sldNum" sz="quarter" idx="12"/>
          </p:nvPr>
        </p:nvSpPr>
        <p:spPr/>
        <p:txBody>
          <a:bodyPr/>
          <a:lstStyle/>
          <a:p>
            <a:fld id="{BAD57874-F2EA-454D-8551-40D881C15EA0}" type="slidenum">
              <a:rPr lang="en-US" smtClean="0"/>
              <a:t>‹#›</a:t>
            </a:fld>
            <a:endParaRPr lang="en-US"/>
          </a:p>
        </p:txBody>
      </p:sp>
    </p:spTree>
    <p:extLst>
      <p:ext uri="{BB962C8B-B14F-4D97-AF65-F5344CB8AC3E}">
        <p14:creationId xmlns:p14="http://schemas.microsoft.com/office/powerpoint/2010/main" val="3706904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8FB635-E526-3F87-FDEB-AF2154E3AE96}"/>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49EFE8B-AB69-7B05-AB3C-C09B340A3CE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16EAF09-E6CB-80EE-B84B-4574FDCF9B6F}"/>
              </a:ext>
            </a:extLst>
          </p:cNvPr>
          <p:cNvSpPr>
            <a:spLocks noGrp="1"/>
          </p:cNvSpPr>
          <p:nvPr>
            <p:ph type="dt" sz="half" idx="10"/>
          </p:nvPr>
        </p:nvSpPr>
        <p:spPr/>
        <p:txBody>
          <a:bodyPr/>
          <a:lstStyle/>
          <a:p>
            <a:fld id="{517E127A-F89D-45F1-89CD-357342A92CF5}" type="datetimeFigureOut">
              <a:rPr lang="en-US" smtClean="0"/>
              <a:t>4/2/2025</a:t>
            </a:fld>
            <a:endParaRPr lang="en-US"/>
          </a:p>
        </p:txBody>
      </p:sp>
      <p:sp>
        <p:nvSpPr>
          <p:cNvPr id="5" name="Footer Placeholder 4">
            <a:extLst>
              <a:ext uri="{FF2B5EF4-FFF2-40B4-BE49-F238E27FC236}">
                <a16:creationId xmlns:a16="http://schemas.microsoft.com/office/drawing/2014/main" id="{CBDF61BB-8254-45A3-1563-43BF4BA2576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4C1B4AF-5CA0-6C7E-57F0-2F47B9D22F1D}"/>
              </a:ext>
            </a:extLst>
          </p:cNvPr>
          <p:cNvSpPr>
            <a:spLocks noGrp="1"/>
          </p:cNvSpPr>
          <p:nvPr>
            <p:ph type="sldNum" sz="quarter" idx="12"/>
          </p:nvPr>
        </p:nvSpPr>
        <p:spPr/>
        <p:txBody>
          <a:bodyPr/>
          <a:lstStyle/>
          <a:p>
            <a:fld id="{BAD57874-F2EA-454D-8551-40D881C15EA0}" type="slidenum">
              <a:rPr lang="en-US" smtClean="0"/>
              <a:t>‹#›</a:t>
            </a:fld>
            <a:endParaRPr lang="en-US"/>
          </a:p>
        </p:txBody>
      </p:sp>
    </p:spTree>
    <p:extLst>
      <p:ext uri="{BB962C8B-B14F-4D97-AF65-F5344CB8AC3E}">
        <p14:creationId xmlns:p14="http://schemas.microsoft.com/office/powerpoint/2010/main" val="3700226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76D32AF-4F7F-D54F-215E-DA6D628A3F7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0770E4AF-15D5-DE19-4DD7-0CD3E4A99FB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A6BCFEA-4A95-2989-0FFA-A031CD7EA4DE}"/>
              </a:ext>
            </a:extLst>
          </p:cNvPr>
          <p:cNvSpPr>
            <a:spLocks noGrp="1"/>
          </p:cNvSpPr>
          <p:nvPr>
            <p:ph type="dt" sz="half" idx="10"/>
          </p:nvPr>
        </p:nvSpPr>
        <p:spPr/>
        <p:txBody>
          <a:bodyPr/>
          <a:lstStyle/>
          <a:p>
            <a:fld id="{517E127A-F89D-45F1-89CD-357342A92CF5}" type="datetimeFigureOut">
              <a:rPr lang="en-US" smtClean="0"/>
              <a:t>4/2/2025</a:t>
            </a:fld>
            <a:endParaRPr lang="en-US"/>
          </a:p>
        </p:txBody>
      </p:sp>
      <p:sp>
        <p:nvSpPr>
          <p:cNvPr id="5" name="Footer Placeholder 4">
            <a:extLst>
              <a:ext uri="{FF2B5EF4-FFF2-40B4-BE49-F238E27FC236}">
                <a16:creationId xmlns:a16="http://schemas.microsoft.com/office/drawing/2014/main" id="{857C9EEF-7F03-B591-6E21-E2C65A15CC5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6EDCD9AE-2360-10FC-FEE0-3BB547AAACEB}"/>
              </a:ext>
            </a:extLst>
          </p:cNvPr>
          <p:cNvSpPr>
            <a:spLocks noGrp="1"/>
          </p:cNvSpPr>
          <p:nvPr>
            <p:ph type="sldNum" sz="quarter" idx="12"/>
          </p:nvPr>
        </p:nvSpPr>
        <p:spPr/>
        <p:txBody>
          <a:bodyPr/>
          <a:lstStyle/>
          <a:p>
            <a:fld id="{BAD57874-F2EA-454D-8551-40D881C15EA0}" type="slidenum">
              <a:rPr lang="en-US" smtClean="0"/>
              <a:t>‹#›</a:t>
            </a:fld>
            <a:endParaRPr lang="en-US"/>
          </a:p>
        </p:txBody>
      </p:sp>
    </p:spTree>
    <p:extLst>
      <p:ext uri="{BB962C8B-B14F-4D97-AF65-F5344CB8AC3E}">
        <p14:creationId xmlns:p14="http://schemas.microsoft.com/office/powerpoint/2010/main" val="101529508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FC729B4F-F462-4FDD-B20E-BD58CBBF5D44}"/>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5A3EEE62-EBB7-4181-8D0F-C77780C1E7D8}"/>
              </a:ext>
            </a:extLst>
          </p:cNvPr>
          <p:cNvSpPr>
            <a:spLocks noGrp="1"/>
          </p:cNvSpPr>
          <p:nvPr>
            <p:ph type="ctrTitle"/>
          </p:nvPr>
        </p:nvSpPr>
        <p:spPr>
          <a:xfrm>
            <a:off x="1524000" y="2507383"/>
            <a:ext cx="9144000" cy="1159982"/>
          </a:xfrm>
        </p:spPr>
        <p:txBody>
          <a:bodyPr anchor="b">
            <a:noAutofit/>
          </a:bodyPr>
          <a:lstStyle>
            <a:lvl1pPr algn="ctr">
              <a:defRPr sz="4000" b="1" i="0">
                <a:solidFill>
                  <a:schemeClr val="bg1"/>
                </a:solidFill>
                <a:latin typeface="Arial Black" panose="020B0604020202020204" pitchFamily="34" charset="0"/>
                <a:cs typeface="Arial Black" panose="020B0604020202020204" pitchFamily="34" charset="0"/>
              </a:defRPr>
            </a:lvl1pPr>
          </a:lstStyle>
          <a:p>
            <a:r>
              <a:rPr lang="en-US" dirty="0"/>
              <a:t>Click to edit Master title style</a:t>
            </a:r>
          </a:p>
        </p:txBody>
      </p:sp>
      <p:sp>
        <p:nvSpPr>
          <p:cNvPr id="3" name="Subtitle 2">
            <a:extLst>
              <a:ext uri="{FF2B5EF4-FFF2-40B4-BE49-F238E27FC236}">
                <a16:creationId xmlns:a16="http://schemas.microsoft.com/office/drawing/2014/main" id="{A6C248EE-14FE-4C7E-BEDB-0AC15A7EFF9F}"/>
              </a:ext>
            </a:extLst>
          </p:cNvPr>
          <p:cNvSpPr>
            <a:spLocks noGrp="1"/>
          </p:cNvSpPr>
          <p:nvPr>
            <p:ph type="subTitle" idx="1"/>
          </p:nvPr>
        </p:nvSpPr>
        <p:spPr>
          <a:xfrm>
            <a:off x="1524000" y="3895966"/>
            <a:ext cx="9144000" cy="710507"/>
          </a:xfrm>
        </p:spPr>
        <p:txBody>
          <a:bodyPr/>
          <a:lstStyle>
            <a:lvl1pPr marL="0" indent="0" algn="ctr">
              <a:buNone/>
              <a:defRPr sz="2400" b="1" i="0">
                <a:solidFill>
                  <a:schemeClr val="bg1"/>
                </a:solidFill>
                <a:latin typeface="Arial Black" panose="020B0604020202020204" pitchFamily="34" charset="0"/>
                <a:cs typeface="Arial Black"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9" name="Picture 8">
            <a:extLst>
              <a:ext uri="{FF2B5EF4-FFF2-40B4-BE49-F238E27FC236}">
                <a16:creationId xmlns:a16="http://schemas.microsoft.com/office/drawing/2014/main" id="{87ED6345-8783-4208-8215-2D4776352483}"/>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11981" y="356205"/>
            <a:ext cx="4110730" cy="1403881"/>
          </a:xfrm>
          <a:prstGeom prst="rect">
            <a:avLst/>
          </a:prstGeom>
        </p:spPr>
      </p:pic>
      <p:cxnSp>
        <p:nvCxnSpPr>
          <p:cNvPr id="10" name="Straight Connector 9">
            <a:extLst>
              <a:ext uri="{FF2B5EF4-FFF2-40B4-BE49-F238E27FC236}">
                <a16:creationId xmlns:a16="http://schemas.microsoft.com/office/drawing/2014/main" id="{13ECABE3-0F4B-4EC0-80CB-7508FC6DD3E2}"/>
              </a:ext>
            </a:extLst>
          </p:cNvPr>
          <p:cNvCxnSpPr/>
          <p:nvPr userDrawn="1"/>
        </p:nvCxnSpPr>
        <p:spPr>
          <a:xfrm>
            <a:off x="3886197" y="3803890"/>
            <a:ext cx="464127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060741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3F0FEF5D-DFFD-4089-8AC6-9540CE874C29}"/>
              </a:ext>
            </a:extLst>
          </p:cNvPr>
          <p:cNvSpPr txBox="1">
            <a:spLocks/>
          </p:cNvSpPr>
          <p:nvPr userDrawn="1"/>
        </p:nvSpPr>
        <p:spPr bwMode="gray">
          <a:xfrm>
            <a:off x="0" y="0"/>
            <a:ext cx="12192000" cy="1367884"/>
          </a:xfrm>
          <a:prstGeom prst="rect">
            <a:avLst/>
          </a:prstGeom>
          <a:solidFill>
            <a:srgbClr val="002576"/>
          </a:solidFill>
          <a:ln>
            <a:noFill/>
          </a:ln>
          <a:effectLst/>
        </p:spPr>
        <p:txBody>
          <a:bodyPr vert="horz" wrap="square" lIns="91440" tIns="45720" rIns="91440" bIns="45720" numCol="1" rtlCol="0" anchor="ctr" anchorCtr="0" compatLnSpc="1">
            <a:prstTxWarp prst="textNoShape">
              <a:avLst/>
            </a:prstTxWarp>
            <a:noAutofit/>
          </a:bodyPr>
          <a:lstStyle>
            <a:lvl1pPr algn="ctr" defTabSz="1218026" rtl="0" eaLnBrk="1" fontAlgn="base" hangingPunct="1">
              <a:spcBef>
                <a:spcPct val="0"/>
              </a:spcBef>
              <a:spcAft>
                <a:spcPct val="0"/>
              </a:spcAft>
              <a:tabLst>
                <a:tab pos="367135" algn="l"/>
              </a:tabLst>
              <a:defRPr lang="x-none" sz="2000" b="1" i="0" baseline="0" noProof="0" dirty="0">
                <a:solidFill>
                  <a:schemeClr val="tx2"/>
                </a:solidFill>
                <a:latin typeface="Arial Black" panose="020B0604020202020204" pitchFamily="34" charset="0"/>
                <a:ea typeface="+mj-ea"/>
                <a:cs typeface="Arial Black" panose="020B0604020202020204" pitchFamily="34" charset="0"/>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endParaRPr kumimoji="0" lang="en-US" sz="2800" b="1" i="0" u="none" strike="noStrike" kern="1200" cap="none" spc="0" normalizeH="0" baseline="0" noProof="0" dirty="0">
              <a:ln>
                <a:noFill/>
              </a:ln>
              <a:solidFill>
                <a:srgbClr val="FFFFFF"/>
              </a:solidFill>
              <a:effectLst/>
              <a:uLnTx/>
              <a:uFillTx/>
              <a:latin typeface="Arial Black" panose="020B0604020202020204" pitchFamily="34" charset="0"/>
              <a:ea typeface="+mj-ea"/>
            </a:endParaRPr>
          </a:p>
        </p:txBody>
      </p:sp>
      <p:sp>
        <p:nvSpPr>
          <p:cNvPr id="2" name="Title 1">
            <a:extLst>
              <a:ext uri="{FF2B5EF4-FFF2-40B4-BE49-F238E27FC236}">
                <a16:creationId xmlns:a16="http://schemas.microsoft.com/office/drawing/2014/main" id="{CE7D88E3-6983-4AB0-9A51-6DA9B91858D2}"/>
              </a:ext>
            </a:extLst>
          </p:cNvPr>
          <p:cNvSpPr>
            <a:spLocks noGrp="1"/>
          </p:cNvSpPr>
          <p:nvPr>
            <p:ph type="title" hasCustomPrompt="1"/>
          </p:nvPr>
        </p:nvSpPr>
        <p:spPr>
          <a:xfrm>
            <a:off x="838200" y="-5811"/>
            <a:ext cx="10515600" cy="1373696"/>
          </a:xfrm>
        </p:spPr>
        <p:txBody>
          <a:bodyPr anchor="ctr">
            <a:noAutofit/>
          </a:bodyPr>
          <a:lstStyle>
            <a:lvl1pPr algn="ctr">
              <a:defRPr sz="2800">
                <a:solidFill>
                  <a:schemeClr val="bg1"/>
                </a:solidFill>
                <a:latin typeface="Arial Black" panose="020B0A0402010202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E4077548-2E2F-469B-B080-EA775ABD125E}"/>
              </a:ext>
            </a:extLst>
          </p:cNvPr>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a:extLst>
              <a:ext uri="{FF2B5EF4-FFF2-40B4-BE49-F238E27FC236}">
                <a16:creationId xmlns:a16="http://schemas.microsoft.com/office/drawing/2014/main" id="{486878BE-96E0-4A10-8F4F-00EC010BE49E}"/>
              </a:ext>
            </a:extLst>
          </p:cNvPr>
          <p:cNvSpPr>
            <a:spLocks noGrp="1"/>
          </p:cNvSpPr>
          <p:nvPr>
            <p:ph type="sldNum" sz="quarter" idx="12"/>
          </p:nvPr>
        </p:nvSpPr>
        <p:spPr/>
        <p:txBody>
          <a:bodyPr/>
          <a:lstStyle/>
          <a:p>
            <a:fld id="{F538A9E0-E3F6-4E54-A054-7FE66453E097}" type="slidenum">
              <a:rPr lang="en-US" smtClean="0"/>
              <a:t>‹#›</a:t>
            </a:fld>
            <a:endParaRPr lang="en-US" dirty="0"/>
          </a:p>
        </p:txBody>
      </p:sp>
    </p:spTree>
    <p:extLst>
      <p:ext uri="{BB962C8B-B14F-4D97-AF65-F5344CB8AC3E}">
        <p14:creationId xmlns:p14="http://schemas.microsoft.com/office/powerpoint/2010/main" val="8293898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3F5A88EF-2119-4F1C-91F5-85A89D53EDCD}"/>
              </a:ext>
            </a:extLst>
          </p:cNvPr>
          <p:cNvSpPr txBox="1">
            <a:spLocks/>
          </p:cNvSpPr>
          <p:nvPr userDrawn="1"/>
        </p:nvSpPr>
        <p:spPr bwMode="gray">
          <a:xfrm>
            <a:off x="0" y="-1"/>
            <a:ext cx="12192000" cy="1367884"/>
          </a:xfrm>
          <a:prstGeom prst="rect">
            <a:avLst/>
          </a:prstGeom>
          <a:solidFill>
            <a:srgbClr val="002576"/>
          </a:solidFill>
          <a:ln>
            <a:noFill/>
          </a:ln>
          <a:effectLst/>
        </p:spPr>
        <p:txBody>
          <a:bodyPr vert="horz" wrap="square" lIns="91440" tIns="45720" rIns="91440" bIns="45720" numCol="1" rtlCol="0" anchor="ctr" anchorCtr="0" compatLnSpc="1">
            <a:prstTxWarp prst="textNoShape">
              <a:avLst/>
            </a:prstTxWarp>
            <a:noAutofit/>
          </a:bodyPr>
          <a:lstStyle>
            <a:lvl1pPr algn="ctr" defTabSz="1218026" rtl="0" eaLnBrk="1" fontAlgn="base" hangingPunct="1">
              <a:spcBef>
                <a:spcPct val="0"/>
              </a:spcBef>
              <a:spcAft>
                <a:spcPct val="0"/>
              </a:spcAft>
              <a:tabLst>
                <a:tab pos="367135" algn="l"/>
              </a:tabLst>
              <a:defRPr lang="x-none" sz="2000" b="1" i="0" baseline="0" noProof="0" dirty="0">
                <a:solidFill>
                  <a:schemeClr val="tx2"/>
                </a:solidFill>
                <a:latin typeface="Arial Black" panose="020B0604020202020204" pitchFamily="34" charset="0"/>
                <a:ea typeface="+mj-ea"/>
                <a:cs typeface="Arial Black" panose="020B0604020202020204" pitchFamily="34" charset="0"/>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a:lstStyle>
          <a:p>
            <a:pPr marL="0" marR="0" lvl="0" indent="0" algn="ctr" defTabSz="457200" rtl="0" eaLnBrk="1" fontAlgn="auto" latinLnBrk="0" hangingPunct="1">
              <a:lnSpc>
                <a:spcPct val="100000"/>
              </a:lnSpc>
              <a:spcBef>
                <a:spcPct val="0"/>
              </a:spcBef>
              <a:spcAft>
                <a:spcPts val="0"/>
              </a:spcAft>
              <a:buClrTx/>
              <a:buSzTx/>
              <a:buFontTx/>
              <a:buNone/>
              <a:tabLst/>
              <a:defRPr/>
            </a:pPr>
            <a:endParaRPr kumimoji="0" lang="en-US" sz="2800" b="1" i="0" u="none" strike="noStrike" kern="1200" cap="none" spc="0" normalizeH="0" baseline="0" noProof="0" dirty="0">
              <a:ln>
                <a:noFill/>
              </a:ln>
              <a:solidFill>
                <a:srgbClr val="FFFFFF"/>
              </a:solidFill>
              <a:effectLst/>
              <a:uLnTx/>
              <a:uFillTx/>
              <a:latin typeface="Arial Black" panose="020B0604020202020204" pitchFamily="34" charset="0"/>
              <a:ea typeface="+mj-ea"/>
            </a:endParaRPr>
          </a:p>
        </p:txBody>
      </p:sp>
      <p:sp>
        <p:nvSpPr>
          <p:cNvPr id="2" name="Title 1">
            <a:extLst>
              <a:ext uri="{FF2B5EF4-FFF2-40B4-BE49-F238E27FC236}">
                <a16:creationId xmlns:a16="http://schemas.microsoft.com/office/drawing/2014/main" id="{CCA16824-BE4D-4921-974B-7F9AF6B1CB55}"/>
              </a:ext>
            </a:extLst>
          </p:cNvPr>
          <p:cNvSpPr>
            <a:spLocks noGrp="1"/>
          </p:cNvSpPr>
          <p:nvPr>
            <p:ph type="title" hasCustomPrompt="1"/>
          </p:nvPr>
        </p:nvSpPr>
        <p:spPr>
          <a:xfrm>
            <a:off x="838200" y="1"/>
            <a:ext cx="10515600" cy="1367882"/>
          </a:xfrm>
        </p:spPr>
        <p:txBody>
          <a:bodyPr>
            <a:normAutofit/>
          </a:bodyPr>
          <a:lstStyle>
            <a:lvl1pPr algn="ctr">
              <a:defRPr sz="2800">
                <a:solidFill>
                  <a:schemeClr val="bg1"/>
                </a:solidFill>
                <a:latin typeface="Arial Black" panose="020B0A04020102020204" pitchFamily="34" charset="0"/>
              </a:defRPr>
            </a:lvl1pPr>
          </a:lstStyle>
          <a:p>
            <a:r>
              <a:rPr lang="en-US" dirty="0"/>
              <a:t>CLICK TO EDIT MASTER TITLE STYLE</a:t>
            </a:r>
          </a:p>
        </p:txBody>
      </p:sp>
      <p:sp>
        <p:nvSpPr>
          <p:cNvPr id="3" name="Content Placeholder 2">
            <a:extLst>
              <a:ext uri="{FF2B5EF4-FFF2-40B4-BE49-F238E27FC236}">
                <a16:creationId xmlns:a16="http://schemas.microsoft.com/office/drawing/2014/main" id="{0E2BEA73-AC1A-4CA0-B17D-1F77448AD3E9}"/>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D37C1358-60BA-4AD9-AC74-341BEBE56677}"/>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a:extLst>
              <a:ext uri="{FF2B5EF4-FFF2-40B4-BE49-F238E27FC236}">
                <a16:creationId xmlns:a16="http://schemas.microsoft.com/office/drawing/2014/main" id="{9D163E2F-5EB2-4D68-80F0-6E6B8E967975}"/>
              </a:ext>
            </a:extLst>
          </p:cNvPr>
          <p:cNvSpPr>
            <a:spLocks noGrp="1"/>
          </p:cNvSpPr>
          <p:nvPr>
            <p:ph type="sldNum" sz="quarter" idx="12"/>
          </p:nvPr>
        </p:nvSpPr>
        <p:spPr/>
        <p:txBody>
          <a:bodyPr/>
          <a:lstStyle/>
          <a:p>
            <a:fld id="{F538A9E0-E3F6-4E54-A054-7FE66453E097}" type="slidenum">
              <a:rPr lang="en-US" smtClean="0"/>
              <a:t>‹#›</a:t>
            </a:fld>
            <a:endParaRPr lang="en-US" dirty="0"/>
          </a:p>
        </p:txBody>
      </p:sp>
    </p:spTree>
    <p:extLst>
      <p:ext uri="{BB962C8B-B14F-4D97-AF65-F5344CB8AC3E}">
        <p14:creationId xmlns:p14="http://schemas.microsoft.com/office/powerpoint/2010/main" val="19866164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Thank You">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25222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C4812A-903C-4DA6-B21B-1FED0DB6DD46}"/>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16C6989-C44A-4132-A811-DD6256CF3564}"/>
              </a:ext>
            </a:extLst>
          </p:cNvPr>
          <p:cNvSpPr>
            <a:spLocks noGrp="1"/>
          </p:cNvSpPr>
          <p:nvPr>
            <p:ph type="dt" sz="half" idx="10"/>
          </p:nvPr>
        </p:nvSpPr>
        <p:spPr/>
        <p:txBody>
          <a:bodyPr/>
          <a:lstStyle/>
          <a:p>
            <a:fld id="{038F9F41-062A-4F02-B617-2045BA1AF702}" type="datetimeFigureOut">
              <a:rPr lang="en-US" smtClean="0"/>
              <a:t>4/2/2025</a:t>
            </a:fld>
            <a:endParaRPr lang="en-US" dirty="0"/>
          </a:p>
        </p:txBody>
      </p:sp>
      <p:sp>
        <p:nvSpPr>
          <p:cNvPr id="4" name="Footer Placeholder 3">
            <a:extLst>
              <a:ext uri="{FF2B5EF4-FFF2-40B4-BE49-F238E27FC236}">
                <a16:creationId xmlns:a16="http://schemas.microsoft.com/office/drawing/2014/main" id="{B0AC4D22-9BA9-4B59-B7B1-4BBAD5B1BB8F}"/>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A6BA2057-1D5B-4F9F-8AAC-A1AB5CCFE159}"/>
              </a:ext>
            </a:extLst>
          </p:cNvPr>
          <p:cNvSpPr>
            <a:spLocks noGrp="1"/>
          </p:cNvSpPr>
          <p:nvPr>
            <p:ph type="sldNum" sz="quarter" idx="12"/>
          </p:nvPr>
        </p:nvSpPr>
        <p:spPr/>
        <p:txBody>
          <a:bodyPr/>
          <a:lstStyle/>
          <a:p>
            <a:fld id="{9F8A271A-AEEB-4EFF-A407-F284E4027385}" type="slidenum">
              <a:rPr lang="en-US" smtClean="0"/>
              <a:t>‹#›</a:t>
            </a:fld>
            <a:endParaRPr lang="en-US" dirty="0"/>
          </a:p>
        </p:txBody>
      </p:sp>
    </p:spTree>
    <p:extLst>
      <p:ext uri="{BB962C8B-B14F-4D97-AF65-F5344CB8AC3E}">
        <p14:creationId xmlns:p14="http://schemas.microsoft.com/office/powerpoint/2010/main" val="40545985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981813809"/>
              </p:ext>
            </p:extLst>
          </p:nvPr>
        </p:nvGraphicFramePr>
        <p:xfrm>
          <a:off x="2162" y="1623"/>
          <a:ext cx="2159" cy="1619"/>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62" y="1623"/>
                        <a:ext cx="2159" cy="1619"/>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520EC01-320C-4973-B750-E4F01BCE2508}"/>
              </a:ext>
            </a:extLst>
          </p:cNvPr>
          <p:cNvSpPr/>
          <p:nvPr userDrawn="1">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US" sz="3200" b="0" i="0" baseline="0" dirty="0">
              <a:solidFill>
                <a:schemeClr val="tx1"/>
              </a:solidFill>
              <a:latin typeface="Arial" panose="020B0604020202020204" pitchFamily="34" charset="0"/>
              <a:ea typeface="+mj-ea"/>
              <a:cs typeface="+mj-cs"/>
              <a:sym typeface="Arial" panose="020B0604020202020204" pitchFamily="34" charset="0"/>
            </a:endParaRPr>
          </a:p>
        </p:txBody>
      </p:sp>
      <p:grpSp>
        <p:nvGrpSpPr>
          <p:cNvPr id="2" name="Group 1">
            <a:extLst>
              <a:ext uri="{FF2B5EF4-FFF2-40B4-BE49-F238E27FC236}">
                <a16:creationId xmlns:a16="http://schemas.microsoft.com/office/drawing/2014/main" id="{920517FF-EB4B-4873-B554-C3223C678C87}"/>
              </a:ext>
            </a:extLst>
          </p:cNvPr>
          <p:cNvGrpSpPr/>
          <p:nvPr userDrawn="1"/>
        </p:nvGrpSpPr>
        <p:grpSpPr>
          <a:xfrm>
            <a:off x="0" y="0"/>
            <a:ext cx="12192000" cy="6858000"/>
            <a:chOff x="0" y="0"/>
            <a:chExt cx="12192000" cy="6858000"/>
          </a:xfrm>
        </p:grpSpPr>
        <p:pic>
          <p:nvPicPr>
            <p:cNvPr id="10" name="Picture 9" descr="Front-slide.jpg">
              <a:extLst>
                <a:ext uri="{FF2B5EF4-FFF2-40B4-BE49-F238E27FC236}">
                  <a16:creationId xmlns:a16="http://schemas.microsoft.com/office/drawing/2014/main" id="{3B8D0985-589C-444F-9B3A-F23FE305EBEF}"/>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21690"/>
            <a:stretch/>
          </p:blipFill>
          <p:spPr>
            <a:xfrm>
              <a:off x="0" y="0"/>
              <a:ext cx="12192000" cy="5442613"/>
            </a:xfrm>
            <a:prstGeom prst="rect">
              <a:avLst/>
            </a:prstGeom>
          </p:spPr>
        </p:pic>
        <p:pic>
          <p:nvPicPr>
            <p:cNvPr id="11" name="Picture 10" descr="Front-slide.jpg">
              <a:extLst>
                <a:ext uri="{FF2B5EF4-FFF2-40B4-BE49-F238E27FC236}">
                  <a16:creationId xmlns:a16="http://schemas.microsoft.com/office/drawing/2014/main" id="{8ADFCC8D-69EC-419A-BF1F-77E94BAA2919}"/>
                </a:ext>
              </a:extLst>
            </p:cNvPr>
            <p:cNvPicPr>
              <a:picLocks noChangeAspect="1"/>
            </p:cNvPicPr>
            <p:nvPr userDrawn="1"/>
          </p:nvPicPr>
          <p:blipFill rotWithShape="1">
            <a:blip r:embed="rId6" cstate="print">
              <a:extLst>
                <a:ext uri="{28A0092B-C50C-407E-A947-70E740481C1C}">
                  <a14:useLocalDpi xmlns:a14="http://schemas.microsoft.com/office/drawing/2010/main" val="0"/>
                </a:ext>
              </a:extLst>
            </a:blip>
            <a:srcRect t="78310"/>
            <a:stretch/>
          </p:blipFill>
          <p:spPr>
            <a:xfrm>
              <a:off x="0" y="5350538"/>
              <a:ext cx="12192000" cy="1507462"/>
            </a:xfrm>
            <a:prstGeom prst="rect">
              <a:avLst/>
            </a:prstGeom>
          </p:spPr>
        </p:pic>
      </p:grpSp>
      <p:sp>
        <p:nvSpPr>
          <p:cNvPr id="5" name="doc id"/>
          <p:cNvSpPr txBox="1">
            <a:spLocks noChangeArrowheads="1"/>
          </p:cNvSpPr>
          <p:nvPr userDrawn="1"/>
        </p:nvSpPr>
        <p:spPr bwMode="auto">
          <a:xfrm>
            <a:off x="11595907" y="37256"/>
            <a:ext cx="401720" cy="12472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r" eaLnBrk="0" hangingPunct="1">
              <a:defRPr lang="x-none"/>
            </a:pPr>
            <a:endParaRPr lang="x-none" sz="1088" baseline="0" noProof="0">
              <a:solidFill>
                <a:srgbClr val="482A06"/>
              </a:solidFill>
              <a:latin typeface="+mn-lt"/>
            </a:endParaRPr>
          </a:p>
        </p:txBody>
      </p:sp>
      <p:sp>
        <p:nvSpPr>
          <p:cNvPr id="13314" name="Title"/>
          <p:cNvSpPr>
            <a:spLocks noGrp="1" noChangeArrowheads="1"/>
          </p:cNvSpPr>
          <p:nvPr userDrawn="1">
            <p:ph type="ctrTitle"/>
          </p:nvPr>
        </p:nvSpPr>
        <p:spPr bwMode="gray">
          <a:xfrm>
            <a:off x="1856924" y="4232263"/>
            <a:ext cx="8478152" cy="502445"/>
          </a:xfrm>
          <a:prstGeom prst="rect">
            <a:avLst/>
          </a:prstGeom>
        </p:spPr>
        <p:txBody>
          <a:bodyPr>
            <a:spAutoFit/>
          </a:bodyPr>
          <a:lstStyle>
            <a:lvl1pPr algn="ctr">
              <a:defRPr lang="x-none" sz="3200" b="0" baseline="0">
                <a:solidFill>
                  <a:schemeClr val="bg1"/>
                </a:solidFill>
                <a:latin typeface="+mj-lt"/>
                <a:ea typeface="+mj-ea"/>
              </a:defRPr>
            </a:lvl1pPr>
          </a:lstStyle>
          <a:p>
            <a:pPr lvl="0" latinLnBrk="0"/>
            <a:r>
              <a:rPr lang="en-US" noProof="0"/>
              <a:t>Click to edit Master title style</a:t>
            </a:r>
            <a:endParaRPr lang="en-US" noProof="0" dirty="0"/>
          </a:p>
        </p:txBody>
      </p:sp>
      <p:sp>
        <p:nvSpPr>
          <p:cNvPr id="13315" name="Subtitle"/>
          <p:cNvSpPr>
            <a:spLocks noGrp="1" noChangeArrowheads="1"/>
          </p:cNvSpPr>
          <p:nvPr userDrawn="1">
            <p:ph type="subTitle" idx="1"/>
          </p:nvPr>
        </p:nvSpPr>
        <p:spPr bwMode="gray">
          <a:xfrm>
            <a:off x="1856924" y="5850661"/>
            <a:ext cx="8478152" cy="246221"/>
          </a:xfrm>
          <a:prstGeom prst="rect">
            <a:avLst/>
          </a:prstGeom>
        </p:spPr>
        <p:txBody>
          <a:bodyPr vert="horz" wrap="square" lIns="0" tIns="0" rIns="0" bIns="0" rtlCol="0">
            <a:spAutoFit/>
          </a:bodyPr>
          <a:lstStyle>
            <a:lvl1pPr algn="ctr">
              <a:defRPr lang="x-none" cap="none" noProof="0" dirty="0">
                <a:solidFill>
                  <a:schemeClr val="bg1"/>
                </a:solidFill>
                <a:latin typeface="+mj-lt"/>
              </a:defRPr>
            </a:lvl1pPr>
          </a:lstStyle>
          <a:p>
            <a:pPr lvl="0"/>
            <a:r>
              <a:rPr lang="en-US" noProof="0"/>
              <a:t>Click to edit Master subtitle style</a:t>
            </a:r>
            <a:endParaRPr lang="en-US" noProof="0" dirty="0"/>
          </a:p>
        </p:txBody>
      </p:sp>
      <p:sp>
        <p:nvSpPr>
          <p:cNvPr id="57" name="Document type" hidden="1"/>
          <p:cNvSpPr txBox="1">
            <a:spLocks noChangeArrowheads="1"/>
          </p:cNvSpPr>
          <p:nvPr userDrawn="1"/>
        </p:nvSpPr>
        <p:spPr bwMode="gray">
          <a:xfrm>
            <a:off x="1856924" y="6309665"/>
            <a:ext cx="8478152" cy="24622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b">
            <a:spAutoFit/>
          </a:bodyPr>
          <a:lstStyle>
            <a:lvl1pPr eaLnBrk="0" hangingPunct="0">
              <a:defRPr lang="x-none" sz="1600">
                <a:solidFill>
                  <a:schemeClr val="tx1"/>
                </a:solidFill>
                <a:latin typeface="Arial" charset="0"/>
              </a:defRPr>
            </a:lvl1pPr>
            <a:lvl2pPr marL="742950" indent="-285750" eaLnBrk="0" hangingPunct="0">
              <a:defRPr lang="x-none" sz="1600">
                <a:solidFill>
                  <a:schemeClr val="tx1"/>
                </a:solidFill>
                <a:latin typeface="Arial" charset="0"/>
              </a:defRPr>
            </a:lvl2pPr>
            <a:lvl3pPr marL="1143000" indent="-228600" eaLnBrk="0" hangingPunct="0">
              <a:defRPr lang="x-none" sz="1600">
                <a:solidFill>
                  <a:schemeClr val="tx1"/>
                </a:solidFill>
                <a:latin typeface="Arial" charset="0"/>
              </a:defRPr>
            </a:lvl3pPr>
            <a:lvl4pPr marL="1600200" indent="-228600" eaLnBrk="0" hangingPunct="0">
              <a:defRPr lang="x-none" sz="1600">
                <a:solidFill>
                  <a:schemeClr val="tx1"/>
                </a:solidFill>
                <a:latin typeface="Arial" charset="0"/>
              </a:defRPr>
            </a:lvl4pPr>
            <a:lvl5pPr marL="2057400" indent="-228600" eaLnBrk="0" hangingPunct="0">
              <a:defRPr lang="x-none" sz="1600">
                <a:solidFill>
                  <a:schemeClr val="tx1"/>
                </a:solidFill>
                <a:latin typeface="Arial" charset="0"/>
              </a:defRPr>
            </a:lvl5pPr>
            <a:lvl6pPr marL="2514600" indent="-228600" eaLnBrk="0" fontAlgn="base" hangingPunct="0">
              <a:spcBef>
                <a:spcPct val="0"/>
              </a:spcBef>
              <a:spcAft>
                <a:spcPct val="0"/>
              </a:spcAft>
              <a:defRPr lang="x-none" sz="1600">
                <a:solidFill>
                  <a:schemeClr val="tx1"/>
                </a:solidFill>
                <a:latin typeface="Arial" charset="0"/>
              </a:defRPr>
            </a:lvl6pPr>
            <a:lvl7pPr marL="2971800" indent="-228600" eaLnBrk="0" fontAlgn="base" hangingPunct="0">
              <a:spcBef>
                <a:spcPct val="0"/>
              </a:spcBef>
              <a:spcAft>
                <a:spcPct val="0"/>
              </a:spcAft>
              <a:defRPr lang="x-none" sz="1600">
                <a:solidFill>
                  <a:schemeClr val="tx1"/>
                </a:solidFill>
                <a:latin typeface="Arial" charset="0"/>
              </a:defRPr>
            </a:lvl7pPr>
            <a:lvl8pPr marL="3429000" indent="-228600" eaLnBrk="0" fontAlgn="base" hangingPunct="0">
              <a:spcBef>
                <a:spcPct val="0"/>
              </a:spcBef>
              <a:spcAft>
                <a:spcPct val="0"/>
              </a:spcAft>
              <a:defRPr lang="x-none" sz="1600">
                <a:solidFill>
                  <a:schemeClr val="tx1"/>
                </a:solidFill>
                <a:latin typeface="Arial" charset="0"/>
              </a:defRPr>
            </a:lvl8pPr>
            <a:lvl9pPr marL="3886200" indent="-228600" eaLnBrk="0" fontAlgn="base" hangingPunct="0">
              <a:spcBef>
                <a:spcPct val="0"/>
              </a:spcBef>
              <a:spcAft>
                <a:spcPct val="0"/>
              </a:spcAft>
              <a:defRPr lang="x-none" sz="1600">
                <a:solidFill>
                  <a:schemeClr val="tx1"/>
                </a:solidFill>
                <a:latin typeface="Arial" charset="0"/>
              </a:defRPr>
            </a:lvl9pPr>
          </a:lstStyle>
          <a:p>
            <a:pPr algn="ctr" eaLnBrk="0" hangingPunct="1">
              <a:defRPr lang="x-none"/>
            </a:pPr>
            <a:r>
              <a:rPr lang="en-US" sz="1600" baseline="0" noProof="0" dirty="0">
                <a:solidFill>
                  <a:schemeClr val="bg1"/>
                </a:solidFill>
                <a:latin typeface="+mn-lt"/>
              </a:rPr>
              <a:t>Document type | Date</a:t>
            </a:r>
          </a:p>
        </p:txBody>
      </p:sp>
    </p:spTree>
    <p:extLst>
      <p:ext uri="{BB962C8B-B14F-4D97-AF65-F5344CB8AC3E}">
        <p14:creationId xmlns:p14="http://schemas.microsoft.com/office/powerpoint/2010/main" val="93507858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extLst>
              <p:ext uri="{D42A27DB-BD31-4B8C-83A1-F6EECF244321}">
                <p14:modId xmlns:p14="http://schemas.microsoft.com/office/powerpoint/2010/main" val="33865568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347" imgH="346" progId="TCLayout.ActiveDocument.1">
                  <p:embed/>
                </p:oleObj>
              </mc:Choice>
              <mc:Fallback>
                <p:oleObj name="think-cell Slide" r:id="rId4" imgW="347" imgH="346"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2A09FAF-36FC-448E-890E-061F32680BAE}"/>
              </a:ext>
            </a:extLst>
          </p:cNvPr>
          <p:cNvSpPr/>
          <p:nvPr userDrawn="1">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en-US" sz="2000" b="0" i="0" baseline="0" dirty="0">
              <a:solidFill>
                <a:schemeClr val="tx1"/>
              </a:solidFill>
              <a:latin typeface="Arial" panose="020B0604020202020204" pitchFamily="34" charset="0"/>
              <a:ea typeface="+mj-ea"/>
              <a:cs typeface="+mj-cs"/>
              <a:sym typeface="Arial" panose="020B0604020202020204" pitchFamily="34" charset="0"/>
            </a:endParaRPr>
          </a:p>
        </p:txBody>
      </p:sp>
      <p:sp>
        <p:nvSpPr>
          <p:cNvPr id="2" name="Title"/>
          <p:cNvSpPr>
            <a:spLocks noGrp="1"/>
          </p:cNvSpPr>
          <p:nvPr>
            <p:ph type="title"/>
          </p:nvPr>
        </p:nvSpPr>
        <p:spPr bwMode="gray">
          <a:xfrm>
            <a:off x="161987" y="234866"/>
            <a:ext cx="11725484" cy="307777"/>
          </a:xfr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lvl1pPr algn="ctr">
              <a:defRPr lang="x-none" b="1" i="0" dirty="0">
                <a:latin typeface="Arial Black" panose="020B0604020202020204" pitchFamily="34" charset="0"/>
                <a:cs typeface="Arial Black" panose="020B0604020202020204" pitchFamily="34" charset="0"/>
              </a:defRPr>
            </a:lvl1pPr>
          </a:lstStyle>
          <a:p>
            <a:pPr lvl="0"/>
            <a:r>
              <a:rPr lang="en-US" dirty="0"/>
              <a:t>Click to edit Master title style</a:t>
            </a:r>
          </a:p>
        </p:txBody>
      </p:sp>
      <p:sp>
        <p:nvSpPr>
          <p:cNvPr id="5" name="doc id" hidden="1"/>
          <p:cNvSpPr>
            <a:spLocks noChangeArrowheads="1"/>
          </p:cNvSpPr>
          <p:nvPr userDrawn="1"/>
        </p:nvSpPr>
        <p:spPr bwMode="gray">
          <a:xfrm flipH="1">
            <a:off x="10658003" y="51835"/>
            <a:ext cx="1231563" cy="9419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26"/>
            <a:endParaRPr lang="x-none" sz="612" baseline="0" noProof="0">
              <a:solidFill>
                <a:schemeClr val="accent6"/>
              </a:solidFill>
              <a:latin typeface="+mn-lt"/>
              <a:ea typeface="+mn-ea"/>
            </a:endParaRPr>
          </a:p>
        </p:txBody>
      </p:sp>
    </p:spTree>
    <p:extLst>
      <p:ext uri="{BB962C8B-B14F-4D97-AF65-F5344CB8AC3E}">
        <p14:creationId xmlns:p14="http://schemas.microsoft.com/office/powerpoint/2010/main" val="564021057"/>
      </p:ext>
    </p:extLst>
  </p:cSld>
  <p:clrMapOvr>
    <a:masterClrMapping/>
  </p:clrMapOvr>
  <p:extLst>
    <p:ext uri="{DCECCB84-F9BA-43D5-87BE-67443E8EF086}">
      <p15:sldGuideLst xmlns:p15="http://schemas.microsoft.com/office/powerpoint/2012/main">
        <p15:guide id="1" pos="7489">
          <p15:clr>
            <a:srgbClr val="F26B43"/>
          </p15:clr>
        </p15:guide>
        <p15:guide id="2" pos="101">
          <p15:clr>
            <a:srgbClr val="F26B43"/>
          </p15:clr>
        </p15:guide>
        <p15:guide id="3" orient="horz" pos="701">
          <p15:clr>
            <a:srgbClr val="F26B43"/>
          </p15:clr>
        </p15:guide>
        <p15:guide id="4" orient="horz" pos="399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8E3AAC-93DC-4882-A107-29BCACAEFC1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24EA634-FEA3-125E-00B0-585706BF7DA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873FC4D-0E4F-94B1-2980-AA36DFDA3E7C}"/>
              </a:ext>
            </a:extLst>
          </p:cNvPr>
          <p:cNvSpPr>
            <a:spLocks noGrp="1"/>
          </p:cNvSpPr>
          <p:nvPr>
            <p:ph type="dt" sz="half" idx="10"/>
          </p:nvPr>
        </p:nvSpPr>
        <p:spPr/>
        <p:txBody>
          <a:bodyPr/>
          <a:lstStyle/>
          <a:p>
            <a:fld id="{517E127A-F89D-45F1-89CD-357342A92CF5}" type="datetimeFigureOut">
              <a:rPr lang="en-US" smtClean="0"/>
              <a:t>4/2/2025</a:t>
            </a:fld>
            <a:endParaRPr lang="en-US"/>
          </a:p>
        </p:txBody>
      </p:sp>
      <p:sp>
        <p:nvSpPr>
          <p:cNvPr id="5" name="Footer Placeholder 4">
            <a:extLst>
              <a:ext uri="{FF2B5EF4-FFF2-40B4-BE49-F238E27FC236}">
                <a16:creationId xmlns:a16="http://schemas.microsoft.com/office/drawing/2014/main" id="{FC278B47-2CC7-D5C9-DF2A-2A83099B188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F7B1C6D-4E5C-3D34-AD37-3E2A47DEC3A5}"/>
              </a:ext>
            </a:extLst>
          </p:cNvPr>
          <p:cNvSpPr>
            <a:spLocks noGrp="1"/>
          </p:cNvSpPr>
          <p:nvPr>
            <p:ph type="sldNum" sz="quarter" idx="12"/>
          </p:nvPr>
        </p:nvSpPr>
        <p:spPr/>
        <p:txBody>
          <a:bodyPr/>
          <a:lstStyle/>
          <a:p>
            <a:fld id="{BAD57874-F2EA-454D-8551-40D881C15EA0}" type="slidenum">
              <a:rPr lang="en-US" smtClean="0"/>
              <a:t>‹#›</a:t>
            </a:fld>
            <a:endParaRPr lang="en-US"/>
          </a:p>
        </p:txBody>
      </p:sp>
    </p:spTree>
    <p:extLst>
      <p:ext uri="{BB962C8B-B14F-4D97-AF65-F5344CB8AC3E}">
        <p14:creationId xmlns:p14="http://schemas.microsoft.com/office/powerpoint/2010/main" val="233263840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91AD55-654C-27F2-1878-A4476AC289F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DEC7F475-BD2A-3ECD-EE8F-EEC7E05E94A8}"/>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4A10AEA8-69D3-6781-1EFB-416EDC1F4055}"/>
              </a:ext>
            </a:extLst>
          </p:cNvPr>
          <p:cNvSpPr>
            <a:spLocks noGrp="1"/>
          </p:cNvSpPr>
          <p:nvPr>
            <p:ph type="dt" sz="half" idx="10"/>
          </p:nvPr>
        </p:nvSpPr>
        <p:spPr/>
        <p:txBody>
          <a:bodyPr/>
          <a:lstStyle/>
          <a:p>
            <a:fld id="{517E127A-F89D-45F1-89CD-357342A92CF5}" type="datetimeFigureOut">
              <a:rPr lang="en-US" smtClean="0"/>
              <a:t>4/2/2025</a:t>
            </a:fld>
            <a:endParaRPr lang="en-US"/>
          </a:p>
        </p:txBody>
      </p:sp>
      <p:sp>
        <p:nvSpPr>
          <p:cNvPr id="5" name="Footer Placeholder 4">
            <a:extLst>
              <a:ext uri="{FF2B5EF4-FFF2-40B4-BE49-F238E27FC236}">
                <a16:creationId xmlns:a16="http://schemas.microsoft.com/office/drawing/2014/main" id="{8C228D67-32BB-3971-7EFE-9F78553B6CC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70C0775-6B14-5E64-8A5F-9DE2E1AC3390}"/>
              </a:ext>
            </a:extLst>
          </p:cNvPr>
          <p:cNvSpPr>
            <a:spLocks noGrp="1"/>
          </p:cNvSpPr>
          <p:nvPr>
            <p:ph type="sldNum" sz="quarter" idx="12"/>
          </p:nvPr>
        </p:nvSpPr>
        <p:spPr/>
        <p:txBody>
          <a:bodyPr/>
          <a:lstStyle/>
          <a:p>
            <a:fld id="{BAD57874-F2EA-454D-8551-40D881C15EA0}" type="slidenum">
              <a:rPr lang="en-US" smtClean="0"/>
              <a:t>‹#›</a:t>
            </a:fld>
            <a:endParaRPr lang="en-US"/>
          </a:p>
        </p:txBody>
      </p:sp>
    </p:spTree>
    <p:extLst>
      <p:ext uri="{BB962C8B-B14F-4D97-AF65-F5344CB8AC3E}">
        <p14:creationId xmlns:p14="http://schemas.microsoft.com/office/powerpoint/2010/main" val="73016298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710C2-BE33-A8F5-1212-793E2A63205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C51E332-48AC-E2F4-B436-9DFD474BDC4B}"/>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E42D389-08F5-BB72-4C7D-27DAED494AFF}"/>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9E1F25F4-2851-E19D-3544-EFC4216146B7}"/>
              </a:ext>
            </a:extLst>
          </p:cNvPr>
          <p:cNvSpPr>
            <a:spLocks noGrp="1"/>
          </p:cNvSpPr>
          <p:nvPr>
            <p:ph type="dt" sz="half" idx="10"/>
          </p:nvPr>
        </p:nvSpPr>
        <p:spPr/>
        <p:txBody>
          <a:bodyPr/>
          <a:lstStyle/>
          <a:p>
            <a:fld id="{517E127A-F89D-45F1-89CD-357342A92CF5}" type="datetimeFigureOut">
              <a:rPr lang="en-US" smtClean="0"/>
              <a:t>4/2/2025</a:t>
            </a:fld>
            <a:endParaRPr lang="en-US"/>
          </a:p>
        </p:txBody>
      </p:sp>
      <p:sp>
        <p:nvSpPr>
          <p:cNvPr id="6" name="Footer Placeholder 5">
            <a:extLst>
              <a:ext uri="{FF2B5EF4-FFF2-40B4-BE49-F238E27FC236}">
                <a16:creationId xmlns:a16="http://schemas.microsoft.com/office/drawing/2014/main" id="{F3F62FDE-1BAE-5A7C-D578-870E87972F4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5C36C9E-B767-ADD4-AB13-8A023C0B1302}"/>
              </a:ext>
            </a:extLst>
          </p:cNvPr>
          <p:cNvSpPr>
            <a:spLocks noGrp="1"/>
          </p:cNvSpPr>
          <p:nvPr>
            <p:ph type="sldNum" sz="quarter" idx="12"/>
          </p:nvPr>
        </p:nvSpPr>
        <p:spPr/>
        <p:txBody>
          <a:bodyPr/>
          <a:lstStyle/>
          <a:p>
            <a:fld id="{BAD57874-F2EA-454D-8551-40D881C15EA0}" type="slidenum">
              <a:rPr lang="en-US" smtClean="0"/>
              <a:t>‹#›</a:t>
            </a:fld>
            <a:endParaRPr lang="en-US"/>
          </a:p>
        </p:txBody>
      </p:sp>
    </p:spTree>
    <p:extLst>
      <p:ext uri="{BB962C8B-B14F-4D97-AF65-F5344CB8AC3E}">
        <p14:creationId xmlns:p14="http://schemas.microsoft.com/office/powerpoint/2010/main" val="15395920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EFB2D4-A2CA-3F4E-1711-0E69F2A02591}"/>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09AA2567-B0B8-E373-103C-E6EB6FAF76F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B44DD5DA-97AB-0BEA-E30F-B18276D2E615}"/>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9C25AD01-650B-32DA-C3B6-18F79EA82615}"/>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F6AD008-841C-39D8-9009-EF881CAC64F8}"/>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8B37A5F6-0770-63A8-A79F-205BE6996B16}"/>
              </a:ext>
            </a:extLst>
          </p:cNvPr>
          <p:cNvSpPr>
            <a:spLocks noGrp="1"/>
          </p:cNvSpPr>
          <p:nvPr>
            <p:ph type="dt" sz="half" idx="10"/>
          </p:nvPr>
        </p:nvSpPr>
        <p:spPr/>
        <p:txBody>
          <a:bodyPr/>
          <a:lstStyle/>
          <a:p>
            <a:fld id="{517E127A-F89D-45F1-89CD-357342A92CF5}" type="datetimeFigureOut">
              <a:rPr lang="en-US" smtClean="0"/>
              <a:t>4/2/2025</a:t>
            </a:fld>
            <a:endParaRPr lang="en-US"/>
          </a:p>
        </p:txBody>
      </p:sp>
      <p:sp>
        <p:nvSpPr>
          <p:cNvPr id="8" name="Footer Placeholder 7">
            <a:extLst>
              <a:ext uri="{FF2B5EF4-FFF2-40B4-BE49-F238E27FC236}">
                <a16:creationId xmlns:a16="http://schemas.microsoft.com/office/drawing/2014/main" id="{593E9D75-0143-D102-0776-B72716CC655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7F3BC1F2-BE17-C372-4AB7-322CBDD7A584}"/>
              </a:ext>
            </a:extLst>
          </p:cNvPr>
          <p:cNvSpPr>
            <a:spLocks noGrp="1"/>
          </p:cNvSpPr>
          <p:nvPr>
            <p:ph type="sldNum" sz="quarter" idx="12"/>
          </p:nvPr>
        </p:nvSpPr>
        <p:spPr/>
        <p:txBody>
          <a:bodyPr/>
          <a:lstStyle/>
          <a:p>
            <a:fld id="{BAD57874-F2EA-454D-8551-40D881C15EA0}" type="slidenum">
              <a:rPr lang="en-US" smtClean="0"/>
              <a:t>‹#›</a:t>
            </a:fld>
            <a:endParaRPr lang="en-US"/>
          </a:p>
        </p:txBody>
      </p:sp>
    </p:spTree>
    <p:extLst>
      <p:ext uri="{BB962C8B-B14F-4D97-AF65-F5344CB8AC3E}">
        <p14:creationId xmlns:p14="http://schemas.microsoft.com/office/powerpoint/2010/main" val="141832067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A43E46-715C-8DE0-C080-54D764ED65D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629293C5-654A-B925-259B-82D3A2F58F36}"/>
              </a:ext>
            </a:extLst>
          </p:cNvPr>
          <p:cNvSpPr>
            <a:spLocks noGrp="1"/>
          </p:cNvSpPr>
          <p:nvPr>
            <p:ph type="dt" sz="half" idx="10"/>
          </p:nvPr>
        </p:nvSpPr>
        <p:spPr/>
        <p:txBody>
          <a:bodyPr/>
          <a:lstStyle/>
          <a:p>
            <a:fld id="{517E127A-F89D-45F1-89CD-357342A92CF5}" type="datetimeFigureOut">
              <a:rPr lang="en-US" smtClean="0"/>
              <a:t>4/2/2025</a:t>
            </a:fld>
            <a:endParaRPr lang="en-US"/>
          </a:p>
        </p:txBody>
      </p:sp>
      <p:sp>
        <p:nvSpPr>
          <p:cNvPr id="4" name="Footer Placeholder 3">
            <a:extLst>
              <a:ext uri="{FF2B5EF4-FFF2-40B4-BE49-F238E27FC236}">
                <a16:creationId xmlns:a16="http://schemas.microsoft.com/office/drawing/2014/main" id="{A2713F6F-4710-921C-235C-0C9E94EF8FB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B72C839-F8A8-21ED-73FE-F6645BD81FC4}"/>
              </a:ext>
            </a:extLst>
          </p:cNvPr>
          <p:cNvSpPr>
            <a:spLocks noGrp="1"/>
          </p:cNvSpPr>
          <p:nvPr>
            <p:ph type="sldNum" sz="quarter" idx="12"/>
          </p:nvPr>
        </p:nvSpPr>
        <p:spPr/>
        <p:txBody>
          <a:bodyPr/>
          <a:lstStyle/>
          <a:p>
            <a:fld id="{BAD57874-F2EA-454D-8551-40D881C15EA0}" type="slidenum">
              <a:rPr lang="en-US" smtClean="0"/>
              <a:t>‹#›</a:t>
            </a:fld>
            <a:endParaRPr lang="en-US"/>
          </a:p>
        </p:txBody>
      </p:sp>
    </p:spTree>
    <p:extLst>
      <p:ext uri="{BB962C8B-B14F-4D97-AF65-F5344CB8AC3E}">
        <p14:creationId xmlns:p14="http://schemas.microsoft.com/office/powerpoint/2010/main" val="243489715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2E9C984-36AA-AB57-A247-7C8049047F10}"/>
              </a:ext>
            </a:extLst>
          </p:cNvPr>
          <p:cNvSpPr>
            <a:spLocks noGrp="1"/>
          </p:cNvSpPr>
          <p:nvPr>
            <p:ph type="dt" sz="half" idx="10"/>
          </p:nvPr>
        </p:nvSpPr>
        <p:spPr/>
        <p:txBody>
          <a:bodyPr/>
          <a:lstStyle/>
          <a:p>
            <a:fld id="{517E127A-F89D-45F1-89CD-357342A92CF5}" type="datetimeFigureOut">
              <a:rPr lang="en-US" smtClean="0"/>
              <a:t>4/2/2025</a:t>
            </a:fld>
            <a:endParaRPr lang="en-US"/>
          </a:p>
        </p:txBody>
      </p:sp>
      <p:sp>
        <p:nvSpPr>
          <p:cNvPr id="3" name="Footer Placeholder 2">
            <a:extLst>
              <a:ext uri="{FF2B5EF4-FFF2-40B4-BE49-F238E27FC236}">
                <a16:creationId xmlns:a16="http://schemas.microsoft.com/office/drawing/2014/main" id="{0BEA122C-1F1F-6E95-DBDF-6FE841A24FC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32CDEED-E3F1-456C-175D-517AE84240E0}"/>
              </a:ext>
            </a:extLst>
          </p:cNvPr>
          <p:cNvSpPr>
            <a:spLocks noGrp="1"/>
          </p:cNvSpPr>
          <p:nvPr>
            <p:ph type="sldNum" sz="quarter" idx="12"/>
          </p:nvPr>
        </p:nvSpPr>
        <p:spPr/>
        <p:txBody>
          <a:bodyPr/>
          <a:lstStyle/>
          <a:p>
            <a:fld id="{BAD57874-F2EA-454D-8551-40D881C15EA0}" type="slidenum">
              <a:rPr lang="en-US" smtClean="0"/>
              <a:t>‹#›</a:t>
            </a:fld>
            <a:endParaRPr lang="en-US"/>
          </a:p>
        </p:txBody>
      </p:sp>
    </p:spTree>
    <p:extLst>
      <p:ext uri="{BB962C8B-B14F-4D97-AF65-F5344CB8AC3E}">
        <p14:creationId xmlns:p14="http://schemas.microsoft.com/office/powerpoint/2010/main" val="162434833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8F6682-3898-839B-19CB-8BE0502DA63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16525DBF-420E-DC58-F3D7-88F1646F9BE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05FD63A-68C0-D890-9359-B9F5B563403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E812AF8-E27C-997D-62DF-3FDDF68DCB7B}"/>
              </a:ext>
            </a:extLst>
          </p:cNvPr>
          <p:cNvSpPr>
            <a:spLocks noGrp="1"/>
          </p:cNvSpPr>
          <p:nvPr>
            <p:ph type="dt" sz="half" idx="10"/>
          </p:nvPr>
        </p:nvSpPr>
        <p:spPr/>
        <p:txBody>
          <a:bodyPr/>
          <a:lstStyle/>
          <a:p>
            <a:fld id="{517E127A-F89D-45F1-89CD-357342A92CF5}" type="datetimeFigureOut">
              <a:rPr lang="en-US" smtClean="0"/>
              <a:t>4/2/2025</a:t>
            </a:fld>
            <a:endParaRPr lang="en-US"/>
          </a:p>
        </p:txBody>
      </p:sp>
      <p:sp>
        <p:nvSpPr>
          <p:cNvPr id="6" name="Footer Placeholder 5">
            <a:extLst>
              <a:ext uri="{FF2B5EF4-FFF2-40B4-BE49-F238E27FC236}">
                <a16:creationId xmlns:a16="http://schemas.microsoft.com/office/drawing/2014/main" id="{AC90ACF7-F855-E9C0-A464-0B277C2A3C1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A5125C8-48CD-DDDA-8E4E-AD94EA025046}"/>
              </a:ext>
            </a:extLst>
          </p:cNvPr>
          <p:cNvSpPr>
            <a:spLocks noGrp="1"/>
          </p:cNvSpPr>
          <p:nvPr>
            <p:ph type="sldNum" sz="quarter" idx="12"/>
          </p:nvPr>
        </p:nvSpPr>
        <p:spPr/>
        <p:txBody>
          <a:bodyPr/>
          <a:lstStyle/>
          <a:p>
            <a:fld id="{BAD57874-F2EA-454D-8551-40D881C15EA0}" type="slidenum">
              <a:rPr lang="en-US" smtClean="0"/>
              <a:t>‹#›</a:t>
            </a:fld>
            <a:endParaRPr lang="en-US"/>
          </a:p>
        </p:txBody>
      </p:sp>
    </p:spTree>
    <p:extLst>
      <p:ext uri="{BB962C8B-B14F-4D97-AF65-F5344CB8AC3E}">
        <p14:creationId xmlns:p14="http://schemas.microsoft.com/office/powerpoint/2010/main" val="326743540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2829EF1-D542-46A8-F6F2-3F2DCADF004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7FE57DE-88E9-8C90-6B6A-AE8DEA5D3CD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6C5B3B6-B89E-CEC4-9CD4-B67F87EB654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90A8678-3C2E-A208-CDFB-EA7B0DECAF86}"/>
              </a:ext>
            </a:extLst>
          </p:cNvPr>
          <p:cNvSpPr>
            <a:spLocks noGrp="1"/>
          </p:cNvSpPr>
          <p:nvPr>
            <p:ph type="dt" sz="half" idx="10"/>
          </p:nvPr>
        </p:nvSpPr>
        <p:spPr/>
        <p:txBody>
          <a:bodyPr/>
          <a:lstStyle/>
          <a:p>
            <a:fld id="{517E127A-F89D-45F1-89CD-357342A92CF5}" type="datetimeFigureOut">
              <a:rPr lang="en-US" smtClean="0"/>
              <a:t>4/2/2025</a:t>
            </a:fld>
            <a:endParaRPr lang="en-US"/>
          </a:p>
        </p:txBody>
      </p:sp>
      <p:sp>
        <p:nvSpPr>
          <p:cNvPr id="6" name="Footer Placeholder 5">
            <a:extLst>
              <a:ext uri="{FF2B5EF4-FFF2-40B4-BE49-F238E27FC236}">
                <a16:creationId xmlns:a16="http://schemas.microsoft.com/office/drawing/2014/main" id="{E775DD3F-6966-2FC9-10E3-0EAEA86AB18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86F18E4-2B2B-E27F-C9FF-30450F96DA28}"/>
              </a:ext>
            </a:extLst>
          </p:cNvPr>
          <p:cNvSpPr>
            <a:spLocks noGrp="1"/>
          </p:cNvSpPr>
          <p:nvPr>
            <p:ph type="sldNum" sz="quarter" idx="12"/>
          </p:nvPr>
        </p:nvSpPr>
        <p:spPr/>
        <p:txBody>
          <a:bodyPr/>
          <a:lstStyle/>
          <a:p>
            <a:fld id="{BAD57874-F2EA-454D-8551-40D881C15EA0}" type="slidenum">
              <a:rPr lang="en-US" smtClean="0"/>
              <a:t>‹#›</a:t>
            </a:fld>
            <a:endParaRPr lang="en-US"/>
          </a:p>
        </p:txBody>
      </p:sp>
    </p:spTree>
    <p:extLst>
      <p:ext uri="{BB962C8B-B14F-4D97-AF65-F5344CB8AC3E}">
        <p14:creationId xmlns:p14="http://schemas.microsoft.com/office/powerpoint/2010/main" val="215190065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theme" Target="../theme/theme2.xml"/><Relationship Id="rId5" Type="http://schemas.openxmlformats.org/officeDocument/2006/relationships/slideLayout" Target="../slideLayouts/slideLayout16.xml"/><Relationship Id="rId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5.xml"/><Relationship Id="rId13" Type="http://schemas.openxmlformats.org/officeDocument/2006/relationships/tags" Target="../tags/tag10.xml"/><Relationship Id="rId18" Type="http://schemas.openxmlformats.org/officeDocument/2006/relationships/tags" Target="../tags/tag15.xml"/><Relationship Id="rId3" Type="http://schemas.openxmlformats.org/officeDocument/2006/relationships/theme" Target="../theme/theme3.xml"/><Relationship Id="rId21" Type="http://schemas.openxmlformats.org/officeDocument/2006/relationships/oleObject" Target="../embeddings/oleObject1.bin"/><Relationship Id="rId7" Type="http://schemas.openxmlformats.org/officeDocument/2006/relationships/tags" Target="../tags/tag4.xml"/><Relationship Id="rId12" Type="http://schemas.openxmlformats.org/officeDocument/2006/relationships/tags" Target="../tags/tag9.xml"/><Relationship Id="rId17" Type="http://schemas.openxmlformats.org/officeDocument/2006/relationships/tags" Target="../tags/tag14.xml"/><Relationship Id="rId2" Type="http://schemas.openxmlformats.org/officeDocument/2006/relationships/slideLayout" Target="../slideLayouts/slideLayout18.xml"/><Relationship Id="rId16" Type="http://schemas.openxmlformats.org/officeDocument/2006/relationships/tags" Target="../tags/tag13.xml"/><Relationship Id="rId20" Type="http://schemas.openxmlformats.org/officeDocument/2006/relationships/tags" Target="../tags/tag17.xml"/><Relationship Id="rId1" Type="http://schemas.openxmlformats.org/officeDocument/2006/relationships/slideLayout" Target="../slideLayouts/slideLayout17.xml"/><Relationship Id="rId6" Type="http://schemas.openxmlformats.org/officeDocument/2006/relationships/tags" Target="../tags/tag3.xml"/><Relationship Id="rId11" Type="http://schemas.openxmlformats.org/officeDocument/2006/relationships/tags" Target="../tags/tag8.xml"/><Relationship Id="rId5" Type="http://schemas.openxmlformats.org/officeDocument/2006/relationships/tags" Target="../tags/tag2.xml"/><Relationship Id="rId15" Type="http://schemas.openxmlformats.org/officeDocument/2006/relationships/tags" Target="../tags/tag12.xml"/><Relationship Id="rId23" Type="http://schemas.openxmlformats.org/officeDocument/2006/relationships/image" Target="../media/image5.jpeg"/><Relationship Id="rId10" Type="http://schemas.openxmlformats.org/officeDocument/2006/relationships/tags" Target="../tags/tag7.xml"/><Relationship Id="rId19" Type="http://schemas.openxmlformats.org/officeDocument/2006/relationships/tags" Target="../tags/tag16.xml"/><Relationship Id="rId4" Type="http://schemas.openxmlformats.org/officeDocument/2006/relationships/tags" Target="../tags/tag1.xml"/><Relationship Id="rId9" Type="http://schemas.openxmlformats.org/officeDocument/2006/relationships/tags" Target="../tags/tag6.xml"/><Relationship Id="rId14" Type="http://schemas.openxmlformats.org/officeDocument/2006/relationships/tags" Target="../tags/tag11.xml"/><Relationship Id="rId22" Type="http://schemas.openxmlformats.org/officeDocument/2006/relationships/image" Target="../media/image4.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A5F5DB1-81FD-4EB0-7F4E-B3E7F5D2E414}"/>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BA681CF-B73E-30EA-1009-6F7891DB1C47}"/>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5698C75-F754-9391-9319-620CABAE472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517E127A-F89D-45F1-89CD-357342A92CF5}" type="datetimeFigureOut">
              <a:rPr lang="en-US" smtClean="0"/>
              <a:t>4/2/2025</a:t>
            </a:fld>
            <a:endParaRPr lang="en-US"/>
          </a:p>
        </p:txBody>
      </p:sp>
      <p:sp>
        <p:nvSpPr>
          <p:cNvPr id="5" name="Footer Placeholder 4">
            <a:extLst>
              <a:ext uri="{FF2B5EF4-FFF2-40B4-BE49-F238E27FC236}">
                <a16:creationId xmlns:a16="http://schemas.microsoft.com/office/drawing/2014/main" id="{9FADCCFE-1244-112E-4F48-2044B5C2692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564787E2-6CF8-5863-93FC-185FE3E53335}"/>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BAD57874-F2EA-454D-8551-40D881C15EA0}" type="slidenum">
              <a:rPr lang="en-US" smtClean="0"/>
              <a:t>‹#›</a:t>
            </a:fld>
            <a:endParaRPr lang="en-US"/>
          </a:p>
        </p:txBody>
      </p:sp>
    </p:spTree>
    <p:extLst>
      <p:ext uri="{BB962C8B-B14F-4D97-AF65-F5344CB8AC3E}">
        <p14:creationId xmlns:p14="http://schemas.microsoft.com/office/powerpoint/2010/main" val="334252324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7A8CB1D-CF7F-4E96-A146-25608F5BAEF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3A3315C5-6367-4229-9395-3D5E5824C13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EE8284BE-44DA-4740-A857-0E3AA08EA87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BC331AA-1AF6-43BB-B061-CD276C837375}" type="datetimeFigureOut">
              <a:rPr lang="en-US" smtClean="0"/>
              <a:t>4/2/2025</a:t>
            </a:fld>
            <a:endParaRPr lang="en-US" dirty="0"/>
          </a:p>
        </p:txBody>
      </p:sp>
      <p:sp>
        <p:nvSpPr>
          <p:cNvPr id="5" name="Footer Placeholder 4">
            <a:extLst>
              <a:ext uri="{FF2B5EF4-FFF2-40B4-BE49-F238E27FC236}">
                <a16:creationId xmlns:a16="http://schemas.microsoft.com/office/drawing/2014/main" id="{36915E97-4113-413F-B035-0E334054103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DA9B36A4-5B4A-42E7-82C4-1C7701E0E89B}"/>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538A9E0-E3F6-4E54-A054-7FE66453E097}" type="slidenum">
              <a:rPr lang="en-US" smtClean="0"/>
              <a:t>‹#›</a:t>
            </a:fld>
            <a:endParaRPr lang="en-US" dirty="0"/>
          </a:p>
        </p:txBody>
      </p:sp>
    </p:spTree>
    <p:extLst>
      <p:ext uri="{BB962C8B-B14F-4D97-AF65-F5344CB8AC3E}">
        <p14:creationId xmlns:p14="http://schemas.microsoft.com/office/powerpoint/2010/main" val="406770661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Lst>
  <p:txStyles>
    <p:titleStyle>
      <a:lvl1pPr algn="l" defTabSz="914400" rtl="0" eaLnBrk="1" latinLnBrk="0" hangingPunct="1">
        <a:lnSpc>
          <a:spcPct val="90000"/>
        </a:lnSpc>
        <a:spcBef>
          <a:spcPct val="0"/>
        </a:spcBef>
        <a:buNone/>
        <a:defRPr sz="4400" kern="1200">
          <a:solidFill>
            <a:schemeClr val="tx1"/>
          </a:solidFill>
          <a:latin typeface="Avenir Next LT Pro" panose="020B0504020202020204"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4"/>
            </p:custDataLst>
            <p:extLst>
              <p:ext uri="{D42A27DB-BD31-4B8C-83A1-F6EECF244321}">
                <p14:modId xmlns:p14="http://schemas.microsoft.com/office/powerpoint/2010/main" val="281144603"/>
              </p:ext>
            </p:extLst>
          </p:nvPr>
        </p:nvGraphicFramePr>
        <p:xfrm>
          <a:off x="0" y="1"/>
          <a:ext cx="215979" cy="161975"/>
        </p:xfrm>
        <a:graphic>
          <a:graphicData uri="http://schemas.openxmlformats.org/presentationml/2006/ole">
            <mc:AlternateContent xmlns:mc="http://schemas.openxmlformats.org/markup-compatibility/2006">
              <mc:Choice xmlns:v="urn:schemas-microsoft-com:vml" Requires="v">
                <p:oleObj name="think-cell Slide" r:id="rId21" imgW="270" imgH="270" progId="TCLayout.ActiveDocument.1">
                  <p:embed/>
                </p:oleObj>
              </mc:Choice>
              <mc:Fallback>
                <p:oleObj name="think-cell Slide" r:id="rId21" imgW="270" imgH="270" progId="TCLayout.ActiveDocument.1">
                  <p:embed/>
                  <p:pic>
                    <p:nvPicPr>
                      <p:cNvPr id="2" name="Object 1" hidden="1"/>
                      <p:cNvPicPr/>
                      <p:nvPr/>
                    </p:nvPicPr>
                    <p:blipFill>
                      <a:blip r:embed="rId22"/>
                      <a:stretch>
                        <a:fillRect/>
                      </a:stretch>
                    </p:blipFill>
                    <p:spPr>
                      <a:xfrm>
                        <a:off x="0" y="1"/>
                        <a:ext cx="215979" cy="161975"/>
                      </a:xfrm>
                      <a:prstGeom prst="rect">
                        <a:avLst/>
                      </a:prstGeom>
                    </p:spPr>
                  </p:pic>
                </p:oleObj>
              </mc:Fallback>
            </mc:AlternateContent>
          </a:graphicData>
        </a:graphic>
      </p:graphicFrame>
      <p:sp>
        <p:nvSpPr>
          <p:cNvPr id="6" name="Rectangle 5" hidden="1"/>
          <p:cNvSpPr/>
          <p:nvPr userDrawn="1">
            <p:custDataLst>
              <p:tags r:id="rId5"/>
            </p:custDataLst>
          </p:nvPr>
        </p:nvSpPr>
        <p:spPr bwMode="auto">
          <a:xfrm>
            <a:off x="0" y="1"/>
            <a:ext cx="215979" cy="161975"/>
          </a:xfrm>
          <a:prstGeom prst="rect">
            <a:avLst/>
          </a:prstGeom>
          <a:solidFill>
            <a:schemeClr val="bg2"/>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a:lnSpc>
                <a:spcPct val="100000"/>
              </a:lnSpc>
              <a:spcBef>
                <a:spcPct val="0"/>
              </a:spcBef>
              <a:spcAft>
                <a:spcPct val="0"/>
              </a:spcAft>
              <a:buFontTx/>
              <a:buNone/>
            </a:pPr>
            <a:endParaRPr lang="x-none" sz="2176" b="0" i="0" baseline="0">
              <a:solidFill>
                <a:schemeClr val="tx1"/>
              </a:solidFill>
              <a:latin typeface="Arial" panose="020B0604020202020204" pitchFamily="34" charset="0"/>
              <a:ea typeface="+mn-ea"/>
              <a:cs typeface="+mn-cs"/>
              <a:sym typeface="Arial" panose="020B0604020202020204" pitchFamily="34" charset="0"/>
            </a:endParaRPr>
          </a:p>
        </p:txBody>
      </p:sp>
      <p:grpSp>
        <p:nvGrpSpPr>
          <p:cNvPr id="5" name="Group 4">
            <a:extLst>
              <a:ext uri="{FF2B5EF4-FFF2-40B4-BE49-F238E27FC236}">
                <a16:creationId xmlns:a16="http://schemas.microsoft.com/office/drawing/2014/main" id="{9182722B-8D36-451B-BCE6-32126BE4CFAD}"/>
              </a:ext>
            </a:extLst>
          </p:cNvPr>
          <p:cNvGrpSpPr/>
          <p:nvPr userDrawn="1"/>
        </p:nvGrpSpPr>
        <p:grpSpPr>
          <a:xfrm>
            <a:off x="0" y="6325564"/>
            <a:ext cx="12192000" cy="532436"/>
            <a:chOff x="0" y="6325564"/>
            <a:chExt cx="12192000" cy="532436"/>
          </a:xfrm>
        </p:grpSpPr>
        <p:pic>
          <p:nvPicPr>
            <p:cNvPr id="63" name="Picture 62" descr="Slide-2.jpg">
              <a:extLst>
                <a:ext uri="{FF2B5EF4-FFF2-40B4-BE49-F238E27FC236}">
                  <a16:creationId xmlns:a16="http://schemas.microsoft.com/office/drawing/2014/main" id="{B804C73B-FC2F-454E-8B73-25AE43E595EE}"/>
                </a:ext>
              </a:extLst>
            </p:cNvPr>
            <p:cNvPicPr>
              <a:picLocks/>
            </p:cNvPicPr>
            <p:nvPr userDrawn="1"/>
          </p:nvPicPr>
          <p:blipFill rotWithShape="1">
            <a:blip r:embed="rId23" cstate="print">
              <a:extLst>
                <a:ext uri="{28A0092B-C50C-407E-A947-70E740481C1C}">
                  <a14:useLocalDpi xmlns:a14="http://schemas.microsoft.com/office/drawing/2010/main" val="0"/>
                </a:ext>
              </a:extLst>
            </a:blip>
            <a:srcRect l="2481" t="87528" b="4771"/>
            <a:stretch/>
          </p:blipFill>
          <p:spPr>
            <a:xfrm>
              <a:off x="0" y="6325564"/>
              <a:ext cx="11889566" cy="532436"/>
            </a:xfrm>
            <a:prstGeom prst="rect">
              <a:avLst/>
            </a:prstGeom>
          </p:spPr>
        </p:pic>
        <p:sp>
          <p:nvSpPr>
            <p:cNvPr id="4" name="Rectangle 3">
              <a:extLst>
                <a:ext uri="{FF2B5EF4-FFF2-40B4-BE49-F238E27FC236}">
                  <a16:creationId xmlns:a16="http://schemas.microsoft.com/office/drawing/2014/main" id="{4B1D452D-0315-4FD3-A8F8-8177CAC7D64E}"/>
                </a:ext>
              </a:extLst>
            </p:cNvPr>
            <p:cNvSpPr>
              <a:spLocks/>
            </p:cNvSpPr>
            <p:nvPr userDrawn="1"/>
          </p:nvSpPr>
          <p:spPr>
            <a:xfrm>
              <a:off x="11760342" y="6325564"/>
              <a:ext cx="431658" cy="532436"/>
            </a:xfrm>
            <a:prstGeom prst="rect">
              <a:avLst/>
            </a:prstGeom>
            <a:solidFill>
              <a:srgbClr val="001D59"/>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1600" dirty="0">
                <a:solidFill>
                  <a:schemeClr val="tx1"/>
                </a:solidFill>
              </a:endParaRPr>
            </a:p>
          </p:txBody>
        </p:sp>
      </p:grpSp>
      <p:sp>
        <p:nvSpPr>
          <p:cNvPr id="1033" name="doc id"/>
          <p:cNvSpPr>
            <a:spLocks noChangeArrowheads="1"/>
          </p:cNvSpPr>
          <p:nvPr/>
        </p:nvSpPr>
        <p:spPr bwMode="gray">
          <a:xfrm flipH="1">
            <a:off x="10658003" y="51835"/>
            <a:ext cx="1231563" cy="9419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r" defTabSz="1218026"/>
            <a:endParaRPr lang="x-none" sz="612" baseline="0" noProof="0">
              <a:solidFill>
                <a:schemeClr val="accent6"/>
              </a:solidFill>
              <a:latin typeface="+mn-lt"/>
              <a:ea typeface="+mn-ea"/>
            </a:endParaRPr>
          </a:p>
        </p:txBody>
      </p:sp>
      <p:sp>
        <p:nvSpPr>
          <p:cNvPr id="19" name="Title"/>
          <p:cNvSpPr>
            <a:spLocks noGrp="1" noChangeArrowheads="1"/>
          </p:cNvSpPr>
          <p:nvPr>
            <p:ph type="title"/>
          </p:nvPr>
        </p:nvSpPr>
        <p:spPr bwMode="gray">
          <a:xfrm>
            <a:off x="161987" y="234866"/>
            <a:ext cx="11725484" cy="307777"/>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2"/>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endParaRPr lang="x-none" noProof="0" dirty="0"/>
          </a:p>
        </p:txBody>
      </p:sp>
      <p:sp>
        <p:nvSpPr>
          <p:cNvPr id="10" name="1. On-page tracker" hidden="1"/>
          <p:cNvSpPr>
            <a:spLocks noChangeArrowheads="1"/>
          </p:cNvSpPr>
          <p:nvPr userDrawn="1"/>
        </p:nvSpPr>
        <p:spPr bwMode="gray">
          <a:xfrm>
            <a:off x="161986" y="77303"/>
            <a:ext cx="490519" cy="12311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r>
              <a:rPr lang="en-US" sz="800" cap="all" baseline="0" noProof="0" dirty="0">
                <a:solidFill>
                  <a:schemeClr val="accent6"/>
                </a:solidFill>
                <a:latin typeface="+mn-lt"/>
                <a:ea typeface="+mn-ea"/>
              </a:rPr>
              <a:t>TRACKER</a:t>
            </a:r>
          </a:p>
        </p:txBody>
      </p:sp>
      <p:sp>
        <p:nvSpPr>
          <p:cNvPr id="11" name="3. Unit of measure" hidden="1"/>
          <p:cNvSpPr txBox="1">
            <a:spLocks noChangeArrowheads="1"/>
          </p:cNvSpPr>
          <p:nvPr userDrawn="1"/>
        </p:nvSpPr>
        <p:spPr bwMode="gray">
          <a:xfrm>
            <a:off x="161987" y="556168"/>
            <a:ext cx="11725484" cy="246221"/>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lang="x-none" sz="2400">
                <a:solidFill>
                  <a:schemeClr val="tx1"/>
                </a:solidFill>
                <a:latin typeface="Arial" charset="0"/>
              </a:defRPr>
            </a:lvl1pPr>
            <a:lvl2pPr marL="447675" defTabSz="895350">
              <a:defRPr lang="x-none" sz="2400">
                <a:solidFill>
                  <a:schemeClr val="tx1"/>
                </a:solidFill>
                <a:latin typeface="Arial" charset="0"/>
              </a:defRPr>
            </a:lvl2pPr>
            <a:lvl3pPr marL="895350" defTabSz="895350">
              <a:defRPr lang="x-none" sz="2400">
                <a:solidFill>
                  <a:schemeClr val="tx1"/>
                </a:solidFill>
                <a:latin typeface="Arial" charset="0"/>
              </a:defRPr>
            </a:lvl3pPr>
            <a:lvl4pPr marL="1344613"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a:defRPr lang="x-none"/>
            </a:pPr>
            <a:r>
              <a:rPr lang="en-US" sz="1600" baseline="0" noProof="0" dirty="0">
                <a:solidFill>
                  <a:schemeClr val="accent6"/>
                </a:solidFill>
                <a:latin typeface="+mn-lt"/>
                <a:ea typeface="+mn-ea"/>
              </a:rPr>
              <a:t>Subtitle</a:t>
            </a:r>
          </a:p>
        </p:txBody>
      </p:sp>
      <p:sp>
        <p:nvSpPr>
          <p:cNvPr id="13" name="4. Footnote" hidden="1"/>
          <p:cNvSpPr txBox="1">
            <a:spLocks noChangeArrowheads="1"/>
          </p:cNvSpPr>
          <p:nvPr/>
        </p:nvSpPr>
        <p:spPr bwMode="gray">
          <a:xfrm>
            <a:off x="161986" y="6148078"/>
            <a:ext cx="11630453" cy="1231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lang="x-none" sz="2400">
                <a:solidFill>
                  <a:schemeClr val="tx1"/>
                </a:solidFill>
                <a:latin typeface="Arial" charset="0"/>
              </a:defRPr>
            </a:lvl1pPr>
            <a:lvl2pPr marL="1031875" defTabSz="895350">
              <a:defRPr lang="x-none" sz="2400">
                <a:solidFill>
                  <a:schemeClr val="tx1"/>
                </a:solidFill>
                <a:latin typeface="Arial" charset="0"/>
              </a:defRPr>
            </a:lvl2pPr>
            <a:lvl3pPr marL="1217613" defTabSz="895350">
              <a:defRPr lang="x-none" sz="2400">
                <a:solidFill>
                  <a:schemeClr val="tx1"/>
                </a:solidFill>
                <a:latin typeface="Arial" charset="0"/>
              </a:defRPr>
            </a:lvl3pPr>
            <a:lvl4pPr marL="1404938" defTabSz="895350">
              <a:defRPr lang="x-none" sz="2400">
                <a:solidFill>
                  <a:schemeClr val="tx1"/>
                </a:solidFill>
                <a:latin typeface="Arial" charset="0"/>
              </a:defRPr>
            </a:lvl4pPr>
            <a:lvl5pPr marL="1792288" defTabSz="895350">
              <a:defRPr lang="x-none" sz="2400">
                <a:solidFill>
                  <a:schemeClr val="tx1"/>
                </a:solidFill>
                <a:latin typeface="Arial" charset="0"/>
              </a:defRPr>
            </a:lvl5pPr>
            <a:lvl6pPr marL="2249488" defTabSz="895350" fontAlgn="base">
              <a:spcBef>
                <a:spcPct val="0"/>
              </a:spcBef>
              <a:spcAft>
                <a:spcPct val="0"/>
              </a:spcAft>
              <a:defRPr lang="x-none" sz="2400">
                <a:solidFill>
                  <a:schemeClr val="tx1"/>
                </a:solidFill>
                <a:latin typeface="Arial" charset="0"/>
              </a:defRPr>
            </a:lvl6pPr>
            <a:lvl7pPr marL="2706688" defTabSz="895350" fontAlgn="base">
              <a:spcBef>
                <a:spcPct val="0"/>
              </a:spcBef>
              <a:spcAft>
                <a:spcPct val="0"/>
              </a:spcAft>
              <a:defRPr lang="x-none" sz="2400">
                <a:solidFill>
                  <a:schemeClr val="tx1"/>
                </a:solidFill>
                <a:latin typeface="Arial" charset="0"/>
              </a:defRPr>
            </a:lvl7pPr>
            <a:lvl8pPr marL="3163888" defTabSz="895350" fontAlgn="base">
              <a:spcBef>
                <a:spcPct val="0"/>
              </a:spcBef>
              <a:spcAft>
                <a:spcPct val="0"/>
              </a:spcAft>
              <a:defRPr lang="x-none" sz="2400">
                <a:solidFill>
                  <a:schemeClr val="tx1"/>
                </a:solidFill>
                <a:latin typeface="Arial" charset="0"/>
              </a:defRPr>
            </a:lvl8pPr>
            <a:lvl9pPr marL="3621088" defTabSz="895350" fontAlgn="base">
              <a:spcBef>
                <a:spcPct val="0"/>
              </a:spcBef>
              <a:spcAft>
                <a:spcPct val="0"/>
              </a:spcAft>
              <a:defRPr lang="x-none" sz="2400">
                <a:solidFill>
                  <a:schemeClr val="tx1"/>
                </a:solidFill>
                <a:latin typeface="Arial" charset="0"/>
              </a:defRPr>
            </a:lvl9pPr>
          </a:lstStyle>
          <a:p>
            <a:pPr marL="84138" indent="-84138">
              <a:defRPr lang="x-none"/>
            </a:pPr>
            <a:r>
              <a:rPr lang="en-US" sz="800" baseline="0" noProof="0" dirty="0">
                <a:solidFill>
                  <a:schemeClr val="accent6"/>
                </a:solidFill>
                <a:latin typeface="+mn-lt"/>
                <a:ea typeface="+mn-ea"/>
              </a:rPr>
              <a:t>1 Footnote</a:t>
            </a:r>
          </a:p>
        </p:txBody>
      </p:sp>
      <p:sp>
        <p:nvSpPr>
          <p:cNvPr id="14" name="5. Source" hidden="1"/>
          <p:cNvSpPr>
            <a:spLocks noChangeArrowheads="1"/>
          </p:cNvSpPr>
          <p:nvPr/>
        </p:nvSpPr>
        <p:spPr bwMode="gray">
          <a:xfrm>
            <a:off x="161986" y="6530232"/>
            <a:ext cx="8456233" cy="123100"/>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square" lIns="0" tIns="0" rIns="0" bIns="0" anchor="ctr" anchorCtr="0">
            <a:spAutoFit/>
          </a:bodyPr>
          <a:lstStyle/>
          <a:p>
            <a:pPr marL="519113" indent="-519113" defTabSz="1218026">
              <a:tabLst/>
            </a:pPr>
            <a:r>
              <a:rPr lang="en-US" sz="800" baseline="0" noProof="0" dirty="0">
                <a:solidFill>
                  <a:schemeClr val="bg1"/>
                </a:solidFill>
                <a:latin typeface="+mn-lt"/>
                <a:ea typeface="+mn-ea"/>
              </a:rPr>
              <a:t>SOURCE : Source</a:t>
            </a:r>
          </a:p>
        </p:txBody>
      </p:sp>
      <p:sp>
        <p:nvSpPr>
          <p:cNvPr id="3" name="Rectangle 286"/>
          <p:cNvSpPr>
            <a:spLocks noGrp="1"/>
          </p:cNvSpPr>
          <p:nvPr userDrawn="1">
            <p:ph type="body" idx="1"/>
          </p:nvPr>
        </p:nvSpPr>
        <p:spPr bwMode="gray">
          <a:xfrm>
            <a:off x="2371623" y="2769659"/>
            <a:ext cx="5801188" cy="1231106"/>
          </a:xfrm>
          <a:prstGeom prst="rect">
            <a:avLst/>
          </a:prstGeom>
        </p:spPr>
        <p:txBody>
          <a:bodyPr vert="horz" wrap="square" lIns="0" tIns="0" rIns="0" bIns="0" rtlCol="0">
            <a:spAutoFit/>
          </a:bodyPr>
          <a:lstStyle/>
          <a:p>
            <a:pPr lvl="0" latinLnBrk="0"/>
            <a:r>
              <a:rPr lang="en-US" dirty="0"/>
              <a:t>Edit Master text styles</a:t>
            </a:r>
          </a:p>
          <a:p>
            <a:pPr lvl="1" latinLnBrk="0"/>
            <a:r>
              <a:rPr lang="en-US" dirty="0"/>
              <a:t>Second level</a:t>
            </a:r>
          </a:p>
          <a:p>
            <a:pPr lvl="2" latinLnBrk="0"/>
            <a:r>
              <a:rPr lang="en-US" dirty="0"/>
              <a:t>Third level</a:t>
            </a:r>
          </a:p>
          <a:p>
            <a:pPr lvl="3" latinLnBrk="0"/>
            <a:r>
              <a:rPr lang="en-US" dirty="0"/>
              <a:t>Fourth level</a:t>
            </a:r>
          </a:p>
          <a:p>
            <a:pPr lvl="4" latinLnBrk="0"/>
            <a:r>
              <a:rPr lang="en-US"/>
              <a:t>Fifth level</a:t>
            </a:r>
            <a:endParaRPr lang="en-US" dirty="0"/>
          </a:p>
        </p:txBody>
      </p:sp>
      <p:grpSp>
        <p:nvGrpSpPr>
          <p:cNvPr id="15" name="ACET" hidden="1"/>
          <p:cNvGrpSpPr>
            <a:grpSpLocks/>
          </p:cNvGrpSpPr>
          <p:nvPr userDrawn="1"/>
        </p:nvGrpSpPr>
        <p:grpSpPr bwMode="gray">
          <a:xfrm>
            <a:off x="2371623" y="1915581"/>
            <a:ext cx="5801188" cy="510221"/>
            <a:chOff x="915" y="715"/>
            <a:chExt cx="2686" cy="315"/>
          </a:xfrm>
        </p:grpSpPr>
        <p:cxnSp>
          <p:nvCxnSpPr>
            <p:cNvPr id="16" name="AutoShape 249"/>
            <p:cNvCxnSpPr>
              <a:cxnSpLocks noChangeShapeType="1"/>
              <a:stCxn id="18" idx="4"/>
              <a:endCxn id="18" idx="6"/>
            </p:cNvCxnSpPr>
            <p:nvPr/>
          </p:nvCxnSpPr>
          <p:spPr bwMode="gray">
            <a:xfrm>
              <a:off x="915" y="1030"/>
              <a:ext cx="2686" cy="0"/>
            </a:xfrm>
            <a:prstGeom prst="straightConnector1">
              <a:avLst/>
            </a:prstGeom>
            <a:noFill/>
            <a:ln w="9525">
              <a:solidFill>
                <a:schemeClr val="accent6"/>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cxnSp>
        <p:sp>
          <p:nvSpPr>
            <p:cNvPr id="18" name="AutoShape 250"/>
            <p:cNvSpPr>
              <a:spLocks noChangeArrowheads="1"/>
            </p:cNvSpPr>
            <p:nvPr/>
          </p:nvSpPr>
          <p:spPr bwMode="gray">
            <a:xfrm>
              <a:off x="915" y="715"/>
              <a:ext cx="2686" cy="315"/>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r>
                <a:rPr lang="x-none" sz="1600" b="1" baseline="0" noProof="0">
                  <a:latin typeface="+mn-lt"/>
                  <a:ea typeface="+mn-ea"/>
                </a:rPr>
                <a:t>Title</a:t>
              </a:r>
            </a:p>
            <a:p>
              <a:r>
                <a:rPr lang="x-none" sz="1600" baseline="0" noProof="0">
                  <a:solidFill>
                    <a:schemeClr val="accent6"/>
                  </a:solidFill>
                  <a:latin typeface="+mn-lt"/>
                  <a:ea typeface="+mn-ea"/>
                </a:rPr>
                <a:t>Unit of measure</a:t>
              </a:r>
            </a:p>
          </p:txBody>
        </p:sp>
      </p:grpSp>
      <p:grpSp>
        <p:nvGrpSpPr>
          <p:cNvPr id="59" name="LegendBoxes" hidden="1"/>
          <p:cNvGrpSpPr>
            <a:grpSpLocks/>
          </p:cNvGrpSpPr>
          <p:nvPr userDrawn="1"/>
        </p:nvGrpSpPr>
        <p:grpSpPr bwMode="auto">
          <a:xfrm>
            <a:off x="11123883" y="269955"/>
            <a:ext cx="763588" cy="996951"/>
            <a:chOff x="4936" y="176"/>
            <a:chExt cx="481" cy="628"/>
          </a:xfrm>
        </p:grpSpPr>
        <p:sp>
          <p:nvSpPr>
            <p:cNvPr id="102" name="Legend1"/>
            <p:cNvSpPr>
              <a:spLocks noChangeArrowheads="1"/>
            </p:cNvSpPr>
            <p:nvPr/>
          </p:nvSpPr>
          <p:spPr bwMode="auto">
            <a:xfrm>
              <a:off x="5096" y="17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3" name="LegendRectangle1"/>
            <p:cNvSpPr>
              <a:spLocks noChangeArrowheads="1"/>
            </p:cNvSpPr>
            <p:nvPr/>
          </p:nvSpPr>
          <p:spPr bwMode="auto">
            <a:xfrm>
              <a:off x="4936" y="183"/>
              <a:ext cx="104" cy="101"/>
            </a:xfrm>
            <a:prstGeom prst="rect">
              <a:avLst/>
            </a:prstGeom>
            <a:solidFill>
              <a:schemeClr val="accent1"/>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04" name="Legend2"/>
            <p:cNvSpPr>
              <a:spLocks noChangeArrowheads="1"/>
            </p:cNvSpPr>
            <p:nvPr/>
          </p:nvSpPr>
          <p:spPr bwMode="auto">
            <a:xfrm>
              <a:off x="5096" y="34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5" name="LegendRectangle2"/>
            <p:cNvSpPr>
              <a:spLocks noChangeArrowheads="1"/>
            </p:cNvSpPr>
            <p:nvPr/>
          </p:nvSpPr>
          <p:spPr bwMode="auto">
            <a:xfrm>
              <a:off x="4936" y="353"/>
              <a:ext cx="104" cy="101"/>
            </a:xfrm>
            <a:prstGeom prst="rect">
              <a:avLst/>
            </a:prstGeom>
            <a:solidFill>
              <a:schemeClr val="accent2"/>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06" name="Legend3"/>
            <p:cNvSpPr>
              <a:spLocks noChangeArrowheads="1"/>
            </p:cNvSpPr>
            <p:nvPr/>
          </p:nvSpPr>
          <p:spPr bwMode="auto">
            <a:xfrm>
              <a:off x="5096" y="517"/>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7" name="LegendRectangle3"/>
            <p:cNvSpPr>
              <a:spLocks noChangeArrowheads="1"/>
            </p:cNvSpPr>
            <p:nvPr/>
          </p:nvSpPr>
          <p:spPr bwMode="auto">
            <a:xfrm>
              <a:off x="4936" y="524"/>
              <a:ext cx="104" cy="101"/>
            </a:xfrm>
            <a:prstGeom prst="rect">
              <a:avLst/>
            </a:prstGeom>
            <a:solidFill>
              <a:schemeClr va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08" name="Legend4"/>
            <p:cNvSpPr>
              <a:spLocks noChangeArrowheads="1"/>
            </p:cNvSpPr>
            <p:nvPr/>
          </p:nvSpPr>
          <p:spPr bwMode="auto">
            <a:xfrm>
              <a:off x="5096" y="688"/>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09" name="LegendRectangle4"/>
            <p:cNvSpPr>
              <a:spLocks noChangeArrowheads="1"/>
            </p:cNvSpPr>
            <p:nvPr/>
          </p:nvSpPr>
          <p:spPr bwMode="auto">
            <a:xfrm>
              <a:off x="4936" y="695"/>
              <a:ext cx="104" cy="101"/>
            </a:xfrm>
            <a:prstGeom prst="rect">
              <a:avLst/>
            </a:prstGeom>
            <a:solidFill>
              <a:schemeClr val="folHlink"/>
            </a:solidFill>
            <a:ln w="9525">
              <a:solidFill>
                <a:srgbClr val="808080"/>
              </a:solidFill>
              <a:miter lim="800000"/>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110" name="LegendLines" hidden="1"/>
          <p:cNvGrpSpPr>
            <a:grpSpLocks/>
          </p:cNvGrpSpPr>
          <p:nvPr userDrawn="1"/>
        </p:nvGrpSpPr>
        <p:grpSpPr bwMode="auto">
          <a:xfrm>
            <a:off x="10815908" y="269955"/>
            <a:ext cx="1071563" cy="730251"/>
            <a:chOff x="4750" y="176"/>
            <a:chExt cx="675" cy="460"/>
          </a:xfrm>
        </p:grpSpPr>
        <p:sp>
          <p:nvSpPr>
            <p:cNvPr id="111" name="LineLegend1"/>
            <p:cNvSpPr>
              <a:spLocks noChangeShapeType="1"/>
            </p:cNvSpPr>
            <p:nvPr/>
          </p:nvSpPr>
          <p:spPr bwMode="auto">
            <a:xfrm>
              <a:off x="4750" y="233"/>
              <a:ext cx="288" cy="0"/>
            </a:xfrm>
            <a:prstGeom prst="line">
              <a:avLst/>
            </a:prstGeom>
            <a:noFill/>
            <a:ln w="28575">
              <a:solidFill>
                <a:schemeClr val="accent3"/>
              </a:solidFill>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112" name="LineLegend2"/>
            <p:cNvSpPr>
              <a:spLocks noChangeShapeType="1"/>
            </p:cNvSpPr>
            <p:nvPr/>
          </p:nvSpPr>
          <p:spPr bwMode="auto">
            <a:xfrm>
              <a:off x="4750" y="402"/>
              <a:ext cx="288" cy="0"/>
            </a:xfrm>
            <a:prstGeom prst="line">
              <a:avLst/>
            </a:prstGeom>
            <a:noFill/>
            <a:ln w="28575">
              <a:solidFill>
                <a:schemeClr val="accent3"/>
              </a:solidFill>
              <a:prstDash val="dash"/>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113" name="LineLegend3"/>
            <p:cNvSpPr>
              <a:spLocks noChangeShapeType="1"/>
            </p:cNvSpPr>
            <p:nvPr/>
          </p:nvSpPr>
          <p:spPr bwMode="auto">
            <a:xfrm>
              <a:off x="4750" y="577"/>
              <a:ext cx="288" cy="0"/>
            </a:xfrm>
            <a:prstGeom prst="line">
              <a:avLst/>
            </a:prstGeom>
            <a:noFill/>
            <a:ln w="28575">
              <a:solidFill>
                <a:schemeClr val="accent3"/>
              </a:solidFill>
              <a:prstDash val="sysDot"/>
              <a:round/>
              <a:headEnd/>
              <a:tailEnd/>
            </a:ln>
            <a:effectLst/>
            <a:extLst>
              <a:ext uri="{909E8E84-426E-40dd-AFC4-6F175D3DCCD1}">
                <a14:hiddenFill xmlns="" xmlns:a14="http://schemas.microsoft.com/office/drawing/2010/main">
                  <a:noFill/>
                </a14:hiddenFill>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a:lstStyle/>
            <a:p>
              <a:endParaRPr lang="en-US" sz="1200" dirty="0">
                <a:latin typeface="+mn-lt"/>
              </a:endParaRPr>
            </a:p>
          </p:txBody>
        </p:sp>
        <p:sp>
          <p:nvSpPr>
            <p:cNvPr id="114" name="Legend1"/>
            <p:cNvSpPr>
              <a:spLocks noChangeArrowheads="1"/>
            </p:cNvSpPr>
            <p:nvPr/>
          </p:nvSpPr>
          <p:spPr bwMode="auto">
            <a:xfrm>
              <a:off x="5104" y="176"/>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15" name="Legend2"/>
            <p:cNvSpPr>
              <a:spLocks noChangeArrowheads="1"/>
            </p:cNvSpPr>
            <p:nvPr/>
          </p:nvSpPr>
          <p:spPr bwMode="auto">
            <a:xfrm>
              <a:off x="5104" y="344"/>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16" name="Legend3"/>
            <p:cNvSpPr>
              <a:spLocks noChangeArrowheads="1"/>
            </p:cNvSpPr>
            <p:nvPr/>
          </p:nvSpPr>
          <p:spPr bwMode="auto">
            <a:xfrm>
              <a:off x="5104" y="520"/>
              <a:ext cx="321" cy="11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grpSp>
        <p:nvGrpSpPr>
          <p:cNvPr id="117" name="Sticker" hidden="1"/>
          <p:cNvGrpSpPr/>
          <p:nvPr userDrawn="1"/>
        </p:nvGrpSpPr>
        <p:grpSpPr bwMode="auto">
          <a:xfrm>
            <a:off x="11162465" y="269955"/>
            <a:ext cx="725006" cy="150811"/>
            <a:chOff x="8015769" y="285750"/>
            <a:chExt cx="725006" cy="150811"/>
          </a:xfrm>
        </p:grpSpPr>
        <p:sp>
          <p:nvSpPr>
            <p:cNvPr id="118" name="StickerRectangle"/>
            <p:cNvSpPr>
              <a:spLocks noChangeArrowheads="1"/>
            </p:cNvSpPr>
            <p:nvPr/>
          </p:nvSpPr>
          <p:spPr bwMode="auto">
            <a:xfrm>
              <a:off x="8015769" y="285750"/>
              <a:ext cx="725006" cy="150811"/>
            </a:xfrm>
            <a:prstGeom prst="leftRightArrow">
              <a:avLst>
                <a:gd name="adj1" fmla="val 100000"/>
                <a:gd name="adj2" fmla="val 0"/>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27432" tIns="0" rIns="0" bIns="27432">
              <a:spAutoFit/>
            </a:bodyPr>
            <a:lstStyle/>
            <a:p>
              <a:pPr algn="r" defTabSz="895350">
                <a:buClr>
                  <a:schemeClr val="tx2"/>
                </a:buClr>
              </a:pPr>
              <a:r>
                <a:rPr lang="en-US" sz="800" baseline="0" dirty="0">
                  <a:solidFill>
                    <a:srgbClr val="808080"/>
                  </a:solidFill>
                  <a:latin typeface="+mn-lt"/>
                </a:rPr>
                <a:t>PRELIMINARY</a:t>
              </a:r>
            </a:p>
          </p:txBody>
        </p:sp>
        <p:cxnSp>
          <p:nvCxnSpPr>
            <p:cNvPr id="119" name="AutoShape 31"/>
            <p:cNvCxnSpPr>
              <a:cxnSpLocks noChangeShapeType="1"/>
              <a:stCxn id="118" idx="2"/>
              <a:endCxn id="118" idx="4"/>
            </p:cNvCxnSpPr>
            <p:nvPr/>
          </p:nvCxnSpPr>
          <p:spPr bwMode="auto">
            <a:xfrm>
              <a:off x="8015769" y="285750"/>
              <a:ext cx="0" cy="150811"/>
            </a:xfrm>
            <a:prstGeom prst="straightConnector1">
              <a:avLst/>
            </a:prstGeom>
            <a:noFill/>
            <a:ln w="9525">
              <a:solidFill>
                <a:srgbClr val="808080"/>
              </a:solidFill>
              <a:round/>
              <a:headEnd/>
              <a:tailEnd/>
            </a:ln>
            <a:extLst>
              <a:ext uri="{909E8E84-426E-40dd-AFC4-6F175D3DCCD1}">
                <a14:hiddenFill xmlns="" xmlns:a14="http://schemas.microsoft.com/office/drawing/2010/main">
                  <a:noFill/>
                </a14:hiddenFill>
              </a:ext>
            </a:extLst>
          </p:spPr>
        </p:cxnSp>
        <p:cxnSp>
          <p:nvCxnSpPr>
            <p:cNvPr id="120" name="AutoShape 32"/>
            <p:cNvCxnSpPr>
              <a:cxnSpLocks noChangeShapeType="1"/>
              <a:stCxn id="118" idx="4"/>
              <a:endCxn id="118" idx="6"/>
            </p:cNvCxnSpPr>
            <p:nvPr/>
          </p:nvCxnSpPr>
          <p:spPr bwMode="auto">
            <a:xfrm>
              <a:off x="8015769" y="436561"/>
              <a:ext cx="725006" cy="0"/>
            </a:xfrm>
            <a:prstGeom prst="straightConnector1">
              <a:avLst/>
            </a:prstGeom>
            <a:noFill/>
            <a:ln w="25400">
              <a:solidFill>
                <a:srgbClr val="808080"/>
              </a:solidFill>
              <a:round/>
              <a:headEnd/>
              <a:tailEnd/>
            </a:ln>
            <a:extLst>
              <a:ext uri="{909E8E84-426E-40dd-AFC4-6F175D3DCCD1}">
                <a14:hiddenFill xmlns="" xmlns:a14="http://schemas.microsoft.com/office/drawing/2010/main">
                  <a:noFill/>
                </a14:hiddenFill>
              </a:ext>
            </a:extLst>
          </p:spPr>
        </p:cxnSp>
      </p:grpSp>
      <p:grpSp>
        <p:nvGrpSpPr>
          <p:cNvPr id="121" name="LegendMoons" hidden="1"/>
          <p:cNvGrpSpPr/>
          <p:nvPr userDrawn="1"/>
        </p:nvGrpSpPr>
        <p:grpSpPr bwMode="auto">
          <a:xfrm>
            <a:off x="11057041" y="269955"/>
            <a:ext cx="830430" cy="1306516"/>
            <a:chOff x="6655594" y="273840"/>
            <a:chExt cx="830430" cy="1306516"/>
          </a:xfrm>
        </p:grpSpPr>
        <p:grpSp>
          <p:nvGrpSpPr>
            <p:cNvPr id="122" name="MoonLegend1"/>
            <p:cNvGrpSpPr>
              <a:grpSpLocks noChangeAspect="1"/>
            </p:cNvGrpSpPr>
            <p:nvPr>
              <p:custDataLst>
                <p:tags r:id="rId6"/>
              </p:custDataLst>
            </p:nvPr>
          </p:nvGrpSpPr>
          <p:grpSpPr bwMode="auto">
            <a:xfrm>
              <a:off x="6655594" y="273840"/>
              <a:ext cx="209550" cy="209551"/>
              <a:chOff x="4533" y="183"/>
              <a:chExt cx="144" cy="144"/>
            </a:xfrm>
          </p:grpSpPr>
          <p:sp>
            <p:nvSpPr>
              <p:cNvPr id="140" name="Oval 38"/>
              <p:cNvSpPr>
                <a:spLocks noChangeAspect="1" noChangeArrowheads="1"/>
              </p:cNvSpPr>
              <p:nvPr>
                <p:custDataLst>
                  <p:tags r:id="rId19"/>
                </p:custDataLst>
              </p:nvPr>
            </p:nvSpPr>
            <p:spPr bwMode="auto">
              <a:xfrm>
                <a:off x="4533" y="183"/>
                <a:ext cx="144" cy="144"/>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41" name="Arc 39"/>
              <p:cNvSpPr>
                <a:spLocks noChangeAspect="1"/>
              </p:cNvSpPr>
              <p:nvPr>
                <p:custDataLst>
                  <p:tags r:id="rId20"/>
                </p:custDataLst>
              </p:nvPr>
            </p:nvSpPr>
            <p:spPr bwMode="auto">
              <a:xfrm>
                <a:off x="4533" y="183"/>
                <a:ext cx="144" cy="144"/>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123" name="MoonLegend2"/>
            <p:cNvGrpSpPr>
              <a:grpSpLocks noChangeAspect="1"/>
            </p:cNvGrpSpPr>
            <p:nvPr>
              <p:custDataLst>
                <p:tags r:id="rId7"/>
              </p:custDataLst>
            </p:nvPr>
          </p:nvGrpSpPr>
          <p:grpSpPr bwMode="auto">
            <a:xfrm>
              <a:off x="6655594" y="548081"/>
              <a:ext cx="209550" cy="209551"/>
              <a:chOff x="1694" y="2044"/>
              <a:chExt cx="160" cy="160"/>
            </a:xfrm>
          </p:grpSpPr>
          <p:sp>
            <p:nvSpPr>
              <p:cNvPr id="138" name="Oval 41"/>
              <p:cNvSpPr>
                <a:spLocks noChangeAspect="1" noChangeArrowheads="1"/>
              </p:cNvSpPr>
              <p:nvPr>
                <p:custDataLst>
                  <p:tags r:id="rId17"/>
                </p:custDataLst>
              </p:nvPr>
            </p:nvSpPr>
            <p:spPr bwMode="auto">
              <a:xfrm>
                <a:off x="1694" y="2044"/>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39" name="Arc 42"/>
              <p:cNvSpPr>
                <a:spLocks noChangeAspect="1"/>
              </p:cNvSpPr>
              <p:nvPr>
                <p:custDataLst>
                  <p:tags r:id="rId18"/>
                </p:custDataLst>
              </p:nvPr>
            </p:nvSpPr>
            <p:spPr bwMode="auto">
              <a:xfrm>
                <a:off x="1694" y="2044"/>
                <a:ext cx="160" cy="160"/>
              </a:xfrm>
              <a:prstGeom prst="arc">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124" name="MoonLegend4"/>
            <p:cNvGrpSpPr>
              <a:grpSpLocks noChangeAspect="1"/>
            </p:cNvGrpSpPr>
            <p:nvPr>
              <p:custDataLst>
                <p:tags r:id="rId8"/>
              </p:custDataLst>
            </p:nvPr>
          </p:nvGrpSpPr>
          <p:grpSpPr bwMode="auto">
            <a:xfrm>
              <a:off x="6655594" y="1096563"/>
              <a:ext cx="209550" cy="209551"/>
              <a:chOff x="4495" y="1198"/>
              <a:chExt cx="160" cy="160"/>
            </a:xfrm>
          </p:grpSpPr>
          <p:sp>
            <p:nvSpPr>
              <p:cNvPr id="136" name="Oval 47"/>
              <p:cNvSpPr>
                <a:spLocks noChangeAspect="1" noChangeArrowheads="1"/>
              </p:cNvSpPr>
              <p:nvPr>
                <p:custDataLst>
                  <p:tags r:id="rId15"/>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37" name="Arc 48"/>
              <p:cNvSpPr>
                <a:spLocks noChangeAspect="1"/>
              </p:cNvSpPr>
              <p:nvPr>
                <p:custDataLst>
                  <p:tags r:id="rId16"/>
                </p:custDataLst>
              </p:nvPr>
            </p:nvSpPr>
            <p:spPr bwMode="auto">
              <a:xfrm>
                <a:off x="4495" y="1198"/>
                <a:ext cx="160" cy="160"/>
              </a:xfrm>
              <a:prstGeom prst="arc">
                <a:avLst>
                  <a:gd name="adj1" fmla="val 16200000"/>
                  <a:gd name="adj2" fmla="val 108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nvGrpSpPr>
            <p:cNvPr id="125" name="MoonLegend5"/>
            <p:cNvGrpSpPr>
              <a:grpSpLocks noChangeAspect="1"/>
            </p:cNvGrpSpPr>
            <p:nvPr>
              <p:custDataLst>
                <p:tags r:id="rId9"/>
              </p:custDataLst>
            </p:nvPr>
          </p:nvGrpSpPr>
          <p:grpSpPr bwMode="auto">
            <a:xfrm>
              <a:off x="6655594" y="1370805"/>
              <a:ext cx="209550" cy="209551"/>
              <a:chOff x="4495" y="1440"/>
              <a:chExt cx="160" cy="160"/>
            </a:xfrm>
          </p:grpSpPr>
          <p:sp>
            <p:nvSpPr>
              <p:cNvPr id="134" name="Oval 50"/>
              <p:cNvSpPr>
                <a:spLocks noChangeAspect="1" noChangeArrowheads="1"/>
              </p:cNvSpPr>
              <p:nvPr>
                <p:custDataLst>
                  <p:tags r:id="rId13"/>
                </p:custDataLst>
              </p:nvPr>
            </p:nvSpPr>
            <p:spPr bwMode="auto">
              <a:xfrm>
                <a:off x="4495" y="1440"/>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35" name="Oval 51"/>
              <p:cNvSpPr>
                <a:spLocks noChangeAspect="1" noChangeArrowheads="1"/>
              </p:cNvSpPr>
              <p:nvPr>
                <p:custDataLst>
                  <p:tags r:id="rId14"/>
                </p:custDataLst>
              </p:nvPr>
            </p:nvSpPr>
            <p:spPr bwMode="auto">
              <a:xfrm>
                <a:off x="4495" y="1440"/>
                <a:ext cx="160" cy="160"/>
              </a:xfrm>
              <a:prstGeom prst="arc">
                <a:avLst>
                  <a:gd name="adj1" fmla="val 16200000"/>
                  <a:gd name="adj2" fmla="val 162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sp>
          <p:nvSpPr>
            <p:cNvPr id="126" name="Legend1"/>
            <p:cNvSpPr>
              <a:spLocks noChangeArrowheads="1"/>
            </p:cNvSpPr>
            <p:nvPr/>
          </p:nvSpPr>
          <p:spPr bwMode="auto">
            <a:xfrm>
              <a:off x="6976269" y="286540"/>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27" name="Legend2"/>
            <p:cNvSpPr>
              <a:spLocks noChangeArrowheads="1"/>
            </p:cNvSpPr>
            <p:nvPr/>
          </p:nvSpPr>
          <p:spPr bwMode="auto">
            <a:xfrm>
              <a:off x="6976269" y="561178"/>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28" name="Legend3"/>
            <p:cNvSpPr>
              <a:spLocks noChangeArrowheads="1"/>
            </p:cNvSpPr>
            <p:nvPr/>
          </p:nvSpPr>
          <p:spPr bwMode="auto">
            <a:xfrm>
              <a:off x="6976269" y="835817"/>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29" name="Legend4"/>
            <p:cNvSpPr>
              <a:spLocks noChangeArrowheads="1"/>
            </p:cNvSpPr>
            <p:nvPr/>
          </p:nvSpPr>
          <p:spPr bwMode="auto">
            <a:xfrm>
              <a:off x="6976269" y="1107280"/>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sp>
          <p:nvSpPr>
            <p:cNvPr id="130" name="Legend5"/>
            <p:cNvSpPr>
              <a:spLocks noChangeArrowheads="1"/>
            </p:cNvSpPr>
            <p:nvPr/>
          </p:nvSpPr>
          <p:spPr bwMode="auto">
            <a:xfrm>
              <a:off x="6976269" y="1383505"/>
              <a:ext cx="509755" cy="18466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895350">
                <a:buClr>
                  <a:schemeClr val="tx2"/>
                </a:buClr>
              </a:pPr>
              <a:r>
                <a:rPr lang="en-US" sz="1200" dirty="0">
                  <a:latin typeface="+mn-lt"/>
                </a:rPr>
                <a:t>Legend</a:t>
              </a:r>
            </a:p>
          </p:txBody>
        </p:sp>
        <p:grpSp>
          <p:nvGrpSpPr>
            <p:cNvPr id="131" name="MoonLegend3"/>
            <p:cNvGrpSpPr>
              <a:grpSpLocks noChangeAspect="1"/>
            </p:cNvGrpSpPr>
            <p:nvPr>
              <p:custDataLst>
                <p:tags r:id="rId10"/>
              </p:custDataLst>
            </p:nvPr>
          </p:nvGrpSpPr>
          <p:grpSpPr bwMode="auto">
            <a:xfrm>
              <a:off x="6655594" y="822322"/>
              <a:ext cx="209550" cy="209551"/>
              <a:chOff x="4495" y="1198"/>
              <a:chExt cx="160" cy="160"/>
            </a:xfrm>
          </p:grpSpPr>
          <p:sp>
            <p:nvSpPr>
              <p:cNvPr id="132" name="Oval 47"/>
              <p:cNvSpPr>
                <a:spLocks noChangeAspect="1" noChangeArrowheads="1"/>
              </p:cNvSpPr>
              <p:nvPr>
                <p:custDataLst>
                  <p:tags r:id="rId11"/>
                </p:custDataLst>
              </p:nvPr>
            </p:nvSpPr>
            <p:spPr bwMode="auto">
              <a:xfrm>
                <a:off x="4495" y="1198"/>
                <a:ext cx="160" cy="160"/>
              </a:xfrm>
              <a:prstGeom prst="ellipse">
                <a:avLst/>
              </a:prstGeom>
              <a:solidFill>
                <a:schemeClr val="accent1"/>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sp>
            <p:nvSpPr>
              <p:cNvPr id="133" name="Arc 48"/>
              <p:cNvSpPr>
                <a:spLocks noChangeAspect="1"/>
              </p:cNvSpPr>
              <p:nvPr>
                <p:custDataLst>
                  <p:tags r:id="rId12"/>
                </p:custDataLst>
              </p:nvPr>
            </p:nvSpPr>
            <p:spPr bwMode="auto">
              <a:xfrm>
                <a:off x="4495" y="1198"/>
                <a:ext cx="160" cy="160"/>
              </a:xfrm>
              <a:prstGeom prst="arc">
                <a:avLst>
                  <a:gd name="adj1" fmla="val 16200000"/>
                  <a:gd name="adj2" fmla="val 5400000"/>
                </a:avLst>
              </a:prstGeom>
              <a:solidFill>
                <a:schemeClr val="folHlink"/>
              </a:solidFill>
              <a:ln w="9525">
                <a:solidFill>
                  <a:schemeClr val="accent6"/>
                </a:solidFill>
                <a:round/>
                <a:headEnd/>
                <a:tailEnd/>
              </a:ln>
              <a:effectLst/>
              <a:extLst>
                <a:ext uri="{AF507438-7753-43e0-B8FC-AC1667EBCBE1}">
                  <a14:hiddenEffects xmlns="" xmlns:a14="http://schemas.microsoft.com/office/drawing/2010/main">
                    <a:effectLst>
                      <a:outerShdw dist="35921" dir="2700000" algn="ctr" rotWithShape="0">
                        <a:schemeClr val="bg2"/>
                      </a:outerShdw>
                    </a:effectLst>
                  </a14:hiddenEffects>
                </a:ext>
              </a:extLst>
            </p:spPr>
            <p:txBody>
              <a:bodyPr wrap="none" anchor="ctr"/>
              <a:lstStyle/>
              <a:p>
                <a:endParaRPr lang="en-US" sz="1200" dirty="0">
                  <a:latin typeface="+mn-lt"/>
                </a:endParaRPr>
              </a:p>
            </p:txBody>
          </p:sp>
        </p:grpSp>
      </p:grpSp>
      <p:sp>
        <p:nvSpPr>
          <p:cNvPr id="64" name="Slide Number">
            <a:extLst>
              <a:ext uri="{FF2B5EF4-FFF2-40B4-BE49-F238E27FC236}">
                <a16:creationId xmlns:a16="http://schemas.microsoft.com/office/drawing/2014/main" id="{3B83D393-875D-4B37-8310-3E73EEBC50C8}"/>
              </a:ext>
            </a:extLst>
          </p:cNvPr>
          <p:cNvSpPr txBox="1">
            <a:spLocks/>
          </p:cNvSpPr>
          <p:nvPr userDrawn="1"/>
        </p:nvSpPr>
        <p:spPr bwMode="gray">
          <a:xfrm>
            <a:off x="11762437" y="6530232"/>
            <a:ext cx="125034" cy="123111"/>
          </a:xfrm>
          <a:prstGeom prst="rect">
            <a:avLst/>
          </a:prstGeom>
        </p:spPr>
        <p:txBody>
          <a:bodyPr vert="horz" wrap="none" lIns="0" tIns="0" rIns="0" bIns="0" rtlCol="0" anchor="ctr">
            <a:spAutoFit/>
          </a:bodyPr>
          <a:lstStyle>
            <a:defPPr>
              <a:defRPr lang="x-none"/>
            </a:defPPr>
            <a:lvl1pPr>
              <a:defRPr lang="x-none" sz="1000" baseline="0">
                <a:latin typeface="+mn-lt"/>
              </a:defRPr>
            </a:lvl1pPr>
          </a:lstStyle>
          <a:p>
            <a:pPr lvl="0" algn="r"/>
            <a:fld id="{42C328C1-A84F-4A39-A664-DBA00541A8C6}" type="slidenum">
              <a:rPr lang="en-US" sz="800" baseline="0" smtClean="0">
                <a:solidFill>
                  <a:schemeClr val="bg1"/>
                </a:solidFill>
              </a:rPr>
              <a:pPr lvl="0" algn="r"/>
              <a:t>‹#›</a:t>
            </a:fld>
            <a:endParaRPr lang="en-US" sz="800" baseline="0" dirty="0">
              <a:solidFill>
                <a:schemeClr val="bg1"/>
              </a:solidFill>
            </a:endParaRPr>
          </a:p>
        </p:txBody>
      </p:sp>
    </p:spTree>
    <p:extLst>
      <p:ext uri="{BB962C8B-B14F-4D97-AF65-F5344CB8AC3E}">
        <p14:creationId xmlns:p14="http://schemas.microsoft.com/office/powerpoint/2010/main" val="1307028818"/>
      </p:ext>
    </p:extLst>
  </p:cSld>
  <p:clrMap bg1="lt1" tx1="dk1" bg2="lt2" tx2="dk2" accent1="accent1" accent2="accent2" accent3="accent3" accent4="accent4" accent5="accent5" accent6="accent6" hlink="hlink" folHlink="folHlink"/>
  <p:sldLayoutIdLst>
    <p:sldLayoutId id="2147483667" r:id="rId1"/>
    <p:sldLayoutId id="2147483668" r:id="rId2"/>
  </p:sldLayoutIdLst>
  <p:hf sldNum="0" hdr="0"/>
  <p:txStyles>
    <p:titleStyle>
      <a:lvl1pPr algn="ctr" defTabSz="1218026" rtl="0" eaLnBrk="1" fontAlgn="base" hangingPunct="1">
        <a:spcBef>
          <a:spcPct val="0"/>
        </a:spcBef>
        <a:spcAft>
          <a:spcPct val="0"/>
        </a:spcAft>
        <a:tabLst>
          <a:tab pos="367135" algn="l"/>
        </a:tabLst>
        <a:defRPr lang="x-none" sz="2000" b="0" baseline="0" noProof="0" dirty="0">
          <a:solidFill>
            <a:schemeClr val="tx2"/>
          </a:solidFill>
          <a:latin typeface="+mj-lt"/>
          <a:ea typeface="+mj-ea"/>
          <a:cs typeface="+mj-cs"/>
        </a:defRPr>
      </a:lvl1pPr>
      <a:lvl2pPr algn="l" defTabSz="1218026" rtl="0" eaLnBrk="1" fontAlgn="base" hangingPunct="1">
        <a:spcBef>
          <a:spcPct val="0"/>
        </a:spcBef>
        <a:spcAft>
          <a:spcPct val="0"/>
        </a:spcAft>
        <a:defRPr lang="x-none" sz="2584" b="1">
          <a:solidFill>
            <a:schemeClr val="tx2"/>
          </a:solidFill>
          <a:latin typeface="Arial" charset="0"/>
        </a:defRPr>
      </a:lvl2pPr>
      <a:lvl3pPr algn="l" defTabSz="1218026" rtl="0" eaLnBrk="1" fontAlgn="base" hangingPunct="1">
        <a:spcBef>
          <a:spcPct val="0"/>
        </a:spcBef>
        <a:spcAft>
          <a:spcPct val="0"/>
        </a:spcAft>
        <a:defRPr lang="x-none" sz="2584" b="1">
          <a:solidFill>
            <a:schemeClr val="tx2"/>
          </a:solidFill>
          <a:latin typeface="Arial" charset="0"/>
        </a:defRPr>
      </a:lvl3pPr>
      <a:lvl4pPr algn="l" defTabSz="1218026" rtl="0" eaLnBrk="1" fontAlgn="base" hangingPunct="1">
        <a:spcBef>
          <a:spcPct val="0"/>
        </a:spcBef>
        <a:spcAft>
          <a:spcPct val="0"/>
        </a:spcAft>
        <a:defRPr lang="x-none" sz="2584" b="1">
          <a:solidFill>
            <a:schemeClr val="tx2"/>
          </a:solidFill>
          <a:latin typeface="Arial" charset="0"/>
        </a:defRPr>
      </a:lvl4pPr>
      <a:lvl5pPr algn="l" defTabSz="1218026" rtl="0" eaLnBrk="1" fontAlgn="base" hangingPunct="1">
        <a:spcBef>
          <a:spcPct val="0"/>
        </a:spcBef>
        <a:spcAft>
          <a:spcPct val="0"/>
        </a:spcAft>
        <a:defRPr lang="x-none" sz="2584" b="1">
          <a:solidFill>
            <a:schemeClr val="tx2"/>
          </a:solidFill>
          <a:latin typeface="Arial" charset="0"/>
        </a:defRPr>
      </a:lvl5pPr>
      <a:lvl6pPr marL="621970" algn="l" defTabSz="1218026" rtl="0" eaLnBrk="1" fontAlgn="base" hangingPunct="1">
        <a:spcBef>
          <a:spcPct val="0"/>
        </a:spcBef>
        <a:spcAft>
          <a:spcPct val="0"/>
        </a:spcAft>
        <a:defRPr lang="x-none" sz="2584" b="1">
          <a:solidFill>
            <a:schemeClr val="tx2"/>
          </a:solidFill>
          <a:latin typeface="Arial" charset="0"/>
        </a:defRPr>
      </a:lvl6pPr>
      <a:lvl7pPr marL="1243941" algn="l" defTabSz="1218026" rtl="0" eaLnBrk="1" fontAlgn="base" hangingPunct="1">
        <a:spcBef>
          <a:spcPct val="0"/>
        </a:spcBef>
        <a:spcAft>
          <a:spcPct val="0"/>
        </a:spcAft>
        <a:defRPr lang="x-none" sz="2584" b="1">
          <a:solidFill>
            <a:schemeClr val="tx2"/>
          </a:solidFill>
          <a:latin typeface="Arial" charset="0"/>
        </a:defRPr>
      </a:lvl7pPr>
      <a:lvl8pPr marL="1865909" algn="l" defTabSz="1218026" rtl="0" eaLnBrk="1" fontAlgn="base" hangingPunct="1">
        <a:spcBef>
          <a:spcPct val="0"/>
        </a:spcBef>
        <a:spcAft>
          <a:spcPct val="0"/>
        </a:spcAft>
        <a:defRPr lang="x-none" sz="2584" b="1">
          <a:solidFill>
            <a:schemeClr val="tx2"/>
          </a:solidFill>
          <a:latin typeface="Arial" charset="0"/>
        </a:defRPr>
      </a:lvl8pPr>
      <a:lvl9pPr marL="2487880" algn="l" defTabSz="1218026" rtl="0" eaLnBrk="1" fontAlgn="base" hangingPunct="1">
        <a:spcBef>
          <a:spcPct val="0"/>
        </a:spcBef>
        <a:spcAft>
          <a:spcPct val="0"/>
        </a:spcAft>
        <a:defRPr lang="x-none" sz="2584" b="1">
          <a:solidFill>
            <a:schemeClr val="tx2"/>
          </a:solidFill>
          <a:latin typeface="Arial" charset="0"/>
        </a:defRPr>
      </a:lvl9pPr>
    </p:titleStyle>
    <p:bodyStyle>
      <a:lvl1pPr marL="0" indent="0" algn="l" defTabSz="1218026" rtl="0" eaLnBrk="1" fontAlgn="base" hangingPunct="1">
        <a:spcBef>
          <a:spcPct val="0"/>
        </a:spcBef>
        <a:spcAft>
          <a:spcPct val="0"/>
        </a:spcAft>
        <a:buClr>
          <a:schemeClr val="tx2"/>
        </a:buClr>
        <a:buSzPct val="100000"/>
        <a:defRPr lang="x-none" sz="1600" baseline="0">
          <a:solidFill>
            <a:schemeClr val="tx1"/>
          </a:solidFill>
          <a:latin typeface="+mn-lt"/>
          <a:ea typeface="+mn-ea"/>
          <a:cs typeface="+mn-cs"/>
        </a:defRPr>
      </a:lvl1pPr>
      <a:lvl2pPr marL="193675" indent="-192088" algn="l" defTabSz="1218026" rtl="0" eaLnBrk="1" fontAlgn="base" hangingPunct="1">
        <a:spcBef>
          <a:spcPct val="0"/>
        </a:spcBef>
        <a:spcAft>
          <a:spcPct val="0"/>
        </a:spcAft>
        <a:buClr>
          <a:schemeClr val="tx2"/>
        </a:buClr>
        <a:buSzPct val="125000"/>
        <a:buFont typeface="Arial" panose="020B0604020202020204" pitchFamily="34" charset="0"/>
        <a:buChar char="▪"/>
        <a:defRPr lang="x-none" sz="1600" baseline="0">
          <a:solidFill>
            <a:schemeClr val="tx1"/>
          </a:solidFill>
          <a:latin typeface="+mn-lt"/>
        </a:defRPr>
      </a:lvl2pPr>
      <a:lvl3pPr marL="457200" indent="-265176" algn="l" defTabSz="1218026"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3pPr>
      <a:lvl4pPr marL="612648" indent="-155448" algn="l" defTabSz="1218026" rtl="0" eaLnBrk="1" fontAlgn="base" hangingPunct="1">
        <a:spcBef>
          <a:spcPct val="0"/>
        </a:spcBef>
        <a:spcAft>
          <a:spcPct val="0"/>
        </a:spcAft>
        <a:buClr>
          <a:schemeClr val="tx2"/>
        </a:buClr>
        <a:buSzPct val="120000"/>
        <a:buFont typeface="Arial" panose="020B0604020202020204" pitchFamily="34" charset="0"/>
        <a:buChar char="▫"/>
        <a:defRPr lang="x-none" sz="1600" baseline="0">
          <a:solidFill>
            <a:schemeClr val="tx1"/>
          </a:solidFill>
          <a:latin typeface="+mn-lt"/>
        </a:defRPr>
      </a:lvl4pPr>
      <a:lvl5pPr marL="749808" indent="-128016" algn="l" defTabSz="1218026" rtl="0" eaLnBrk="1" fontAlgn="base" hangingPunct="1">
        <a:spcBef>
          <a:spcPct val="0"/>
        </a:spcBef>
        <a:spcAft>
          <a:spcPct val="0"/>
        </a:spcAft>
        <a:buClr>
          <a:schemeClr val="tx2"/>
        </a:buClr>
        <a:buSzPct val="89000"/>
        <a:buFont typeface="Arial" panose="020B0604020202020204" pitchFamily="34" charset="0"/>
        <a:buChar char="-"/>
        <a:defRPr lang="x-none" sz="1600" baseline="0">
          <a:solidFill>
            <a:schemeClr val="tx1"/>
          </a:solidFill>
          <a:latin typeface="+mn-lt"/>
        </a:defRPr>
      </a:lvl5pPr>
      <a:lvl6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6pPr>
      <a:lvl7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7pPr>
      <a:lvl8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8pPr>
      <a:lvl9pPr marL="1020030" indent="-177089" algn="l" defTabSz="1218026" rtl="0" eaLnBrk="1" fontAlgn="base" hangingPunct="1">
        <a:spcBef>
          <a:spcPct val="0"/>
        </a:spcBef>
        <a:spcAft>
          <a:spcPct val="0"/>
        </a:spcAft>
        <a:buClr>
          <a:schemeClr val="tx2"/>
        </a:buClr>
        <a:buSzPct val="89000"/>
        <a:buFont typeface="Arial" charset="0"/>
        <a:buChar char="-"/>
        <a:defRPr lang="x-none" sz="2176" baseline="0">
          <a:solidFill>
            <a:schemeClr val="tx1"/>
          </a:solidFill>
          <a:latin typeface="+mn-lt"/>
        </a:defRPr>
      </a:lvl9pPr>
    </p:bodyStyle>
    <p:otherStyle>
      <a:defPPr>
        <a:defRPr lang="x-none"/>
      </a:defPPr>
      <a:lvl1pPr marL="0" algn="l" defTabSz="1243941" rtl="0" eaLnBrk="1" latinLnBrk="0" hangingPunct="1">
        <a:defRPr lang="x-none" sz="2448" kern="1200">
          <a:solidFill>
            <a:schemeClr val="tx1"/>
          </a:solidFill>
          <a:latin typeface="+mn-lt"/>
          <a:ea typeface="+mn-ea"/>
          <a:cs typeface="+mn-cs"/>
        </a:defRPr>
      </a:lvl1pPr>
      <a:lvl2pPr marL="621970" algn="l" defTabSz="1243941" rtl="0" eaLnBrk="1" latinLnBrk="0" hangingPunct="1">
        <a:defRPr lang="x-none" sz="2448" kern="1200">
          <a:solidFill>
            <a:schemeClr val="tx1"/>
          </a:solidFill>
          <a:latin typeface="+mn-lt"/>
          <a:ea typeface="+mn-ea"/>
          <a:cs typeface="+mn-cs"/>
        </a:defRPr>
      </a:lvl2pPr>
      <a:lvl3pPr marL="1243941" algn="l" defTabSz="1243941" rtl="0" eaLnBrk="1" latinLnBrk="0" hangingPunct="1">
        <a:defRPr lang="x-none" sz="2448" kern="1200">
          <a:solidFill>
            <a:schemeClr val="tx1"/>
          </a:solidFill>
          <a:latin typeface="+mn-lt"/>
          <a:ea typeface="+mn-ea"/>
          <a:cs typeface="+mn-cs"/>
        </a:defRPr>
      </a:lvl3pPr>
      <a:lvl4pPr marL="1865909" algn="l" defTabSz="1243941" rtl="0" eaLnBrk="1" latinLnBrk="0" hangingPunct="1">
        <a:defRPr lang="x-none" sz="2448" kern="1200">
          <a:solidFill>
            <a:schemeClr val="tx1"/>
          </a:solidFill>
          <a:latin typeface="+mn-lt"/>
          <a:ea typeface="+mn-ea"/>
          <a:cs typeface="+mn-cs"/>
        </a:defRPr>
      </a:lvl4pPr>
      <a:lvl5pPr marL="2487880" algn="l" defTabSz="1243941" rtl="0" eaLnBrk="1" latinLnBrk="0" hangingPunct="1">
        <a:defRPr lang="x-none" sz="2448" kern="1200">
          <a:solidFill>
            <a:schemeClr val="tx1"/>
          </a:solidFill>
          <a:latin typeface="+mn-lt"/>
          <a:ea typeface="+mn-ea"/>
          <a:cs typeface="+mn-cs"/>
        </a:defRPr>
      </a:lvl5pPr>
      <a:lvl6pPr marL="3109850" algn="l" defTabSz="1243941" rtl="0" eaLnBrk="1" latinLnBrk="0" hangingPunct="1">
        <a:defRPr lang="x-none" sz="2448" kern="1200">
          <a:solidFill>
            <a:schemeClr val="tx1"/>
          </a:solidFill>
          <a:latin typeface="+mn-lt"/>
          <a:ea typeface="+mn-ea"/>
          <a:cs typeface="+mn-cs"/>
        </a:defRPr>
      </a:lvl6pPr>
      <a:lvl7pPr marL="3731821" algn="l" defTabSz="1243941" rtl="0" eaLnBrk="1" latinLnBrk="0" hangingPunct="1">
        <a:defRPr lang="x-none" sz="2448" kern="1200">
          <a:solidFill>
            <a:schemeClr val="tx1"/>
          </a:solidFill>
          <a:latin typeface="+mn-lt"/>
          <a:ea typeface="+mn-ea"/>
          <a:cs typeface="+mn-cs"/>
        </a:defRPr>
      </a:lvl7pPr>
      <a:lvl8pPr marL="4353790" algn="l" defTabSz="1243941" rtl="0" eaLnBrk="1" latinLnBrk="0" hangingPunct="1">
        <a:defRPr lang="x-none" sz="2448" kern="1200">
          <a:solidFill>
            <a:schemeClr val="tx1"/>
          </a:solidFill>
          <a:latin typeface="+mn-lt"/>
          <a:ea typeface="+mn-ea"/>
          <a:cs typeface="+mn-cs"/>
        </a:defRPr>
      </a:lvl8pPr>
      <a:lvl9pPr marL="4975761" algn="l" defTabSz="1243941" rtl="0" eaLnBrk="1" latinLnBrk="0" hangingPunct="1">
        <a:defRPr lang="x-none" sz="244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Layout" Target="../slideLayouts/slideLayout1.xml"/><Relationship Id="rId7" Type="http://schemas.openxmlformats.org/officeDocument/2006/relationships/image" Target="../media/image1.jpe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image" Target="../media/image19.emf"/><Relationship Id="rId3" Type="http://schemas.openxmlformats.org/officeDocument/2006/relationships/slideLayout" Target="../slideLayouts/slideLayout6.xml"/><Relationship Id="rId7" Type="http://schemas.openxmlformats.org/officeDocument/2006/relationships/oleObject" Target="../embeddings/oleObject5.bin"/><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28.jpeg"/><Relationship Id="rId5" Type="http://schemas.openxmlformats.org/officeDocument/2006/relationships/image" Target="../media/image27.jpeg"/><Relationship Id="rId4" Type="http://schemas.openxmlformats.org/officeDocument/2006/relationships/notesSlide" Target="../notesSlides/notesSlide9.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9.png"/><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19.emf"/><Relationship Id="rId5" Type="http://schemas.openxmlformats.org/officeDocument/2006/relationships/oleObject" Target="../embeddings/oleObject5.bin"/><Relationship Id="rId4" Type="http://schemas.openxmlformats.org/officeDocument/2006/relationships/notesSlide" Target="../notesSlides/notesSlide10.xml"/></Relationships>
</file>

<file path=ppt/slides/_rels/slide12.xml.rels><?xml version="1.0" encoding="UTF-8" standalone="yes"?>
<Relationships xmlns="http://schemas.openxmlformats.org/package/2006/relationships"><Relationship Id="rId8" Type="http://schemas.openxmlformats.org/officeDocument/2006/relationships/image" Target="../media/image31.jpg"/><Relationship Id="rId3" Type="http://schemas.openxmlformats.org/officeDocument/2006/relationships/slideLayout" Target="../slideLayouts/slideLayout6.xml"/><Relationship Id="rId7" Type="http://schemas.openxmlformats.org/officeDocument/2006/relationships/image" Target="../media/image30.png"/><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19.emf"/><Relationship Id="rId5" Type="http://schemas.openxmlformats.org/officeDocument/2006/relationships/oleObject" Target="../embeddings/oleObject5.bin"/><Relationship Id="rId4" Type="http://schemas.openxmlformats.org/officeDocument/2006/relationships/notesSlide" Target="../notesSlides/notesSlide11.xml"/></Relationships>
</file>

<file path=ppt/slides/_rels/slide13.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slideLayout" Target="../slideLayouts/slideLayout6.xml"/><Relationship Id="rId7" Type="http://schemas.openxmlformats.org/officeDocument/2006/relationships/image" Target="../media/image32.jpg"/><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19.emf"/><Relationship Id="rId5" Type="http://schemas.openxmlformats.org/officeDocument/2006/relationships/oleObject" Target="../embeddings/oleObject5.bin"/><Relationship Id="rId4"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8" Type="http://schemas.openxmlformats.org/officeDocument/2006/relationships/image" Target="../media/image35.jpg"/><Relationship Id="rId3" Type="http://schemas.openxmlformats.org/officeDocument/2006/relationships/slideLayout" Target="../slideLayouts/slideLayout6.xml"/><Relationship Id="rId7" Type="http://schemas.openxmlformats.org/officeDocument/2006/relationships/image" Target="../media/image34.JPEG"/><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19.emf"/><Relationship Id="rId5" Type="http://schemas.openxmlformats.org/officeDocument/2006/relationships/oleObject" Target="../embeddings/oleObject5.bin"/><Relationship Id="rId4" Type="http://schemas.openxmlformats.org/officeDocument/2006/relationships/notesSlide" Target="../notesSlides/notesSlide13.xml"/></Relationships>
</file>

<file path=ppt/slides/_rels/slide15.xml.rels><?xml version="1.0" encoding="UTF-8" standalone="yes"?>
<Relationships xmlns="http://schemas.openxmlformats.org/package/2006/relationships"><Relationship Id="rId8" Type="http://schemas.openxmlformats.org/officeDocument/2006/relationships/image" Target="../media/image37.jpg"/><Relationship Id="rId3" Type="http://schemas.openxmlformats.org/officeDocument/2006/relationships/slideLayout" Target="../slideLayouts/slideLayout6.xml"/><Relationship Id="rId7" Type="http://schemas.openxmlformats.org/officeDocument/2006/relationships/image" Target="../media/image36.jpe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19.emf"/><Relationship Id="rId5" Type="http://schemas.openxmlformats.org/officeDocument/2006/relationships/oleObject" Target="../embeddings/oleObject5.bin"/><Relationship Id="rId4" Type="http://schemas.openxmlformats.org/officeDocument/2006/relationships/notesSlide" Target="../notesSlides/notesSlide14.xml"/></Relationships>
</file>

<file path=ppt/slides/_rels/slide16.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slideLayout" Target="../slideLayouts/slideLayout6.xml"/><Relationship Id="rId7" Type="http://schemas.openxmlformats.org/officeDocument/2006/relationships/image" Target="../media/image24.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19.emf"/><Relationship Id="rId5" Type="http://schemas.openxmlformats.org/officeDocument/2006/relationships/oleObject" Target="../embeddings/oleObject5.bin"/><Relationship Id="rId4" Type="http://schemas.openxmlformats.org/officeDocument/2006/relationships/notesSlide" Target="../notesSlides/notesSlide16.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image" Target="../media/image38.jp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image" Target="../media/image11.jpeg"/><Relationship Id="rId1" Type="http://schemas.openxmlformats.org/officeDocument/2006/relationships/slideLayout" Target="../slideLayouts/slideLayout4.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slides/_rels/slide4.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slideLayout" Target="../slideLayouts/slideLayout6.xml"/><Relationship Id="rId7" Type="http://schemas.openxmlformats.org/officeDocument/2006/relationships/image" Target="../media/image20.png"/><Relationship Id="rId12" Type="http://schemas.openxmlformats.org/officeDocument/2006/relationships/image" Target="../media/image25.sv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19.emf"/><Relationship Id="rId11" Type="http://schemas.openxmlformats.org/officeDocument/2006/relationships/image" Target="../media/image24.png"/><Relationship Id="rId5" Type="http://schemas.openxmlformats.org/officeDocument/2006/relationships/oleObject" Target="../embeddings/oleObject5.bin"/><Relationship Id="rId10" Type="http://schemas.openxmlformats.org/officeDocument/2006/relationships/image" Target="../media/image23.svg"/><Relationship Id="rId4" Type="http://schemas.openxmlformats.org/officeDocument/2006/relationships/notesSlide" Target="../notesSlides/notesSlide4.xml"/><Relationship Id="rId9" Type="http://schemas.openxmlformats.org/officeDocument/2006/relationships/image" Target="../media/image22.png"/></Relationships>
</file>

<file path=ppt/slides/_rels/slide6.xml.rels><?xml version="1.0" encoding="UTF-8" standalone="yes"?>
<Relationships xmlns="http://schemas.openxmlformats.org/package/2006/relationships"><Relationship Id="rId8" Type="http://schemas.openxmlformats.org/officeDocument/2006/relationships/image" Target="../media/image21.svg"/><Relationship Id="rId3" Type="http://schemas.openxmlformats.org/officeDocument/2006/relationships/slideLayout" Target="../slideLayouts/slideLayout6.xml"/><Relationship Id="rId7" Type="http://schemas.openxmlformats.org/officeDocument/2006/relationships/image" Target="../media/image20.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9.emf"/><Relationship Id="rId5" Type="http://schemas.openxmlformats.org/officeDocument/2006/relationships/oleObject" Target="../embeddings/oleObject5.bin"/><Relationship Id="rId4" Type="http://schemas.openxmlformats.org/officeDocument/2006/relationships/notesSlide" Target="../notesSlides/notesSlide5.xml"/></Relationships>
</file>

<file path=ppt/slides/_rels/slide7.xml.rels><?xml version="1.0" encoding="UTF-8" standalone="yes"?>
<Relationships xmlns="http://schemas.openxmlformats.org/package/2006/relationships"><Relationship Id="rId8" Type="http://schemas.openxmlformats.org/officeDocument/2006/relationships/image" Target="../media/image23.svg"/><Relationship Id="rId3" Type="http://schemas.openxmlformats.org/officeDocument/2006/relationships/slideLayout" Target="../slideLayouts/slideLayout6.xml"/><Relationship Id="rId7" Type="http://schemas.openxmlformats.org/officeDocument/2006/relationships/image" Target="../media/image22.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19.emf"/><Relationship Id="rId5" Type="http://schemas.openxmlformats.org/officeDocument/2006/relationships/oleObject" Target="../embeddings/oleObject5.bin"/><Relationship Id="rId4" Type="http://schemas.openxmlformats.org/officeDocument/2006/relationships/notesSlide" Target="../notesSlides/notesSlide6.xml"/></Relationships>
</file>

<file path=ppt/slides/_rels/slide8.xml.rels><?xml version="1.0" encoding="UTF-8" standalone="yes"?>
<Relationships xmlns="http://schemas.openxmlformats.org/package/2006/relationships"><Relationship Id="rId8" Type="http://schemas.openxmlformats.org/officeDocument/2006/relationships/image" Target="../media/image25.svg"/><Relationship Id="rId3" Type="http://schemas.openxmlformats.org/officeDocument/2006/relationships/slideLayout" Target="../slideLayouts/slideLayout6.xml"/><Relationship Id="rId7" Type="http://schemas.openxmlformats.org/officeDocument/2006/relationships/image" Target="../media/image24.png"/><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19.emf"/><Relationship Id="rId5" Type="http://schemas.openxmlformats.org/officeDocument/2006/relationships/oleObject" Target="../embeddings/oleObject5.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26.png"/><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19.emf"/><Relationship Id="rId5" Type="http://schemas.openxmlformats.org/officeDocument/2006/relationships/oleObject" Target="../embeddings/oleObject5.bin"/><Relationship Id="rId4" Type="http://schemas.openxmlformats.org/officeDocument/2006/relationships/notesSlide" Target="../notesSlides/notesSlide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
            </p:custDataLst>
          </p:nvPr>
        </p:nvGraphicFramePr>
        <p:xfrm>
          <a:off x="2253" y="-1141042"/>
          <a:ext cx="2159" cy="2159"/>
        </p:xfrm>
        <a:graphic>
          <a:graphicData uri="http://schemas.openxmlformats.org/presentationml/2006/ole">
            <mc:AlternateContent xmlns:mc="http://schemas.openxmlformats.org/markup-compatibility/2006">
              <mc:Choice xmlns:v="urn:schemas-microsoft-com:vml" Requires="v">
                <p:oleObj name="think-cell Slide" r:id="rId5" imgW="353" imgH="353" progId="TCLayout.ActiveDocument.1">
                  <p:embed/>
                </p:oleObj>
              </mc:Choice>
              <mc:Fallback>
                <p:oleObj name="think-cell Slide" r:id="rId5" imgW="353" imgH="353" progId="TCLayout.ActiveDocument.1">
                  <p:embed/>
                  <p:pic>
                    <p:nvPicPr>
                      <p:cNvPr id="4" name="Object 3" hidden="1"/>
                      <p:cNvPicPr/>
                      <p:nvPr/>
                    </p:nvPicPr>
                    <p:blipFill>
                      <a:blip r:embed="rId6"/>
                      <a:stretch>
                        <a:fillRect/>
                      </a:stretch>
                    </p:blipFill>
                    <p:spPr>
                      <a:xfrm>
                        <a:off x="2253" y="-1141042"/>
                        <a:ext cx="2159" cy="2159"/>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72950B-2BA5-45E4-AFA0-9AF77DBD4AF6}"/>
              </a:ext>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dirty="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pic>
        <p:nvPicPr>
          <p:cNvPr id="7" name="Picture 6">
            <a:extLst>
              <a:ext uri="{FF2B5EF4-FFF2-40B4-BE49-F238E27FC236}">
                <a16:creationId xmlns:a16="http://schemas.microsoft.com/office/drawing/2014/main" id="{0FEEA167-5E10-42E9-BBC1-5096C3953491}"/>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267" y="0"/>
            <a:ext cx="12169464" cy="6858000"/>
          </a:xfrm>
          <a:prstGeom prst="rect">
            <a:avLst/>
          </a:prstGeom>
        </p:spPr>
      </p:pic>
      <p:cxnSp>
        <p:nvCxnSpPr>
          <p:cNvPr id="9" name="Straight Connector 8">
            <a:extLst>
              <a:ext uri="{FF2B5EF4-FFF2-40B4-BE49-F238E27FC236}">
                <a16:creationId xmlns:a16="http://schemas.microsoft.com/office/drawing/2014/main" id="{DE7535A3-4715-450E-BD9A-6246061E2C16}"/>
              </a:ext>
            </a:extLst>
          </p:cNvPr>
          <p:cNvCxnSpPr/>
          <p:nvPr/>
        </p:nvCxnSpPr>
        <p:spPr>
          <a:xfrm>
            <a:off x="3886197" y="3803890"/>
            <a:ext cx="4641273" cy="0"/>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Picture 10">
            <a:extLst>
              <a:ext uri="{FF2B5EF4-FFF2-40B4-BE49-F238E27FC236}">
                <a16:creationId xmlns:a16="http://schemas.microsoft.com/office/drawing/2014/main" id="{B289FD69-11FE-4A7F-92E7-ED224BBFE11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11981" y="356205"/>
            <a:ext cx="4110730" cy="1403881"/>
          </a:xfrm>
          <a:prstGeom prst="rect">
            <a:avLst/>
          </a:prstGeom>
        </p:spPr>
      </p:pic>
      <p:sp>
        <p:nvSpPr>
          <p:cNvPr id="3" name="TextBox 2">
            <a:extLst>
              <a:ext uri="{FF2B5EF4-FFF2-40B4-BE49-F238E27FC236}">
                <a16:creationId xmlns:a16="http://schemas.microsoft.com/office/drawing/2014/main" id="{06375ED4-D417-C9EB-04B9-6163A043D964}"/>
              </a:ext>
            </a:extLst>
          </p:cNvPr>
          <p:cNvSpPr txBox="1"/>
          <p:nvPr/>
        </p:nvSpPr>
        <p:spPr>
          <a:xfrm>
            <a:off x="0" y="2963975"/>
            <a:ext cx="12192000" cy="646331"/>
          </a:xfrm>
          <a:prstGeom prst="rect">
            <a:avLst/>
          </a:prstGeom>
          <a:noFill/>
        </p:spPr>
        <p:txBody>
          <a:bodyPr wrap="square" rtlCol="0">
            <a:spAutoFit/>
          </a:bodyPr>
          <a:lstStyle/>
          <a:p>
            <a:pPr algn="ctr"/>
            <a:r>
              <a:rPr lang="en-US" sz="3600" b="1" dirty="0">
                <a:solidFill>
                  <a:schemeClr val="bg1"/>
                </a:solidFill>
              </a:rPr>
              <a:t>Downtown Real Estate Development Resources</a:t>
            </a:r>
          </a:p>
        </p:txBody>
      </p:sp>
      <p:sp>
        <p:nvSpPr>
          <p:cNvPr id="5" name="TextBox 4">
            <a:extLst>
              <a:ext uri="{FF2B5EF4-FFF2-40B4-BE49-F238E27FC236}">
                <a16:creationId xmlns:a16="http://schemas.microsoft.com/office/drawing/2014/main" id="{AD03F69C-42A2-7DC5-9DF8-4E5B74E910DE}"/>
              </a:ext>
            </a:extLst>
          </p:cNvPr>
          <p:cNvSpPr txBox="1"/>
          <p:nvPr/>
        </p:nvSpPr>
        <p:spPr>
          <a:xfrm>
            <a:off x="0" y="4047433"/>
            <a:ext cx="12192000" cy="861774"/>
          </a:xfrm>
          <a:prstGeom prst="rect">
            <a:avLst/>
          </a:prstGeom>
          <a:noFill/>
        </p:spPr>
        <p:txBody>
          <a:bodyPr wrap="square" rtlCol="0">
            <a:spAutoFit/>
          </a:bodyPr>
          <a:lstStyle/>
          <a:p>
            <a:pPr algn="ctr"/>
            <a:r>
              <a:rPr lang="en-US" sz="1600" b="1" dirty="0">
                <a:solidFill>
                  <a:schemeClr val="bg1"/>
                </a:solidFill>
              </a:rPr>
              <a:t>SARAH SNOEYINK</a:t>
            </a:r>
          </a:p>
          <a:p>
            <a:pPr algn="ctr"/>
            <a:r>
              <a:rPr lang="en-US" sz="1600" dirty="0">
                <a:solidFill>
                  <a:schemeClr val="bg1"/>
                </a:solidFill>
              </a:rPr>
              <a:t>Community Development Manger</a:t>
            </a:r>
          </a:p>
          <a:p>
            <a:pPr algn="ctr"/>
            <a:r>
              <a:rPr lang="en-US" sz="1600" dirty="0">
                <a:solidFill>
                  <a:schemeClr val="bg1"/>
                </a:solidFill>
              </a:rPr>
              <a:t>Michigan Economic Development Corporation</a:t>
            </a:r>
          </a:p>
        </p:txBody>
      </p:sp>
    </p:spTree>
    <p:extLst>
      <p:ext uri="{BB962C8B-B14F-4D97-AF65-F5344CB8AC3E}">
        <p14:creationId xmlns:p14="http://schemas.microsoft.com/office/powerpoint/2010/main" val="116745544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C792AF-FD8F-180E-71E0-1A4C8C6F1C17}"/>
            </a:ext>
          </a:extLst>
        </p:cNvPr>
        <p:cNvGrpSpPr/>
        <p:nvPr/>
      </p:nvGrpSpPr>
      <p:grpSpPr>
        <a:xfrm>
          <a:off x="0" y="0"/>
          <a:ext cx="0" cy="0"/>
          <a:chOff x="0" y="0"/>
          <a:chExt cx="0" cy="0"/>
        </a:xfrm>
      </p:grpSpPr>
      <p:pic>
        <p:nvPicPr>
          <p:cNvPr id="7" name="Picture 6">
            <a:extLst>
              <a:ext uri="{FF2B5EF4-FFF2-40B4-BE49-F238E27FC236}">
                <a16:creationId xmlns:a16="http://schemas.microsoft.com/office/drawing/2014/main" id="{59C95385-DB3E-A409-6C55-79676AA59B42}"/>
              </a:ext>
            </a:extLst>
          </p:cNvPr>
          <p:cNvPicPr>
            <a:picLocks noChangeAspect="1"/>
          </p:cNvPicPr>
          <p:nvPr/>
        </p:nvPicPr>
        <p:blipFill rotWithShape="1">
          <a:blip r:embed="rId5">
            <a:extLst>
              <a:ext uri="{28A0092B-C50C-407E-A947-70E740481C1C}">
                <a14:useLocalDpi xmlns:a14="http://schemas.microsoft.com/office/drawing/2010/main" val="0"/>
              </a:ext>
            </a:extLst>
          </a:blip>
          <a:srcRect l="6777" t="20200" r="1532" b="5981"/>
          <a:stretch/>
        </p:blipFill>
        <p:spPr>
          <a:xfrm>
            <a:off x="3" y="3817050"/>
            <a:ext cx="6095997" cy="3040949"/>
          </a:xfrm>
          <a:prstGeom prst="rect">
            <a:avLst/>
          </a:prstGeom>
        </p:spPr>
      </p:pic>
      <p:pic>
        <p:nvPicPr>
          <p:cNvPr id="8" name="Picture 7" descr="A picture containing building, rock, brick, stone&#10;&#10;Description automatically generated">
            <a:extLst>
              <a:ext uri="{FF2B5EF4-FFF2-40B4-BE49-F238E27FC236}">
                <a16:creationId xmlns:a16="http://schemas.microsoft.com/office/drawing/2014/main" id="{9A089130-7330-D4E5-F808-09709FA464C1}"/>
              </a:ext>
            </a:extLst>
          </p:cNvPr>
          <p:cNvPicPr>
            <a:picLocks noChangeAspect="1"/>
          </p:cNvPicPr>
          <p:nvPr/>
        </p:nvPicPr>
        <p:blipFill rotWithShape="1">
          <a:blip r:embed="rId6">
            <a:extLst>
              <a:ext uri="{28A0092B-C50C-407E-A947-70E740481C1C}">
                <a14:useLocalDpi xmlns:a14="http://schemas.microsoft.com/office/drawing/2010/main" val="0"/>
              </a:ext>
            </a:extLst>
          </a:blip>
          <a:srcRect l="398" t="20597" b="21959"/>
          <a:stretch/>
        </p:blipFill>
        <p:spPr>
          <a:xfrm>
            <a:off x="0" y="1180266"/>
            <a:ext cx="6096000" cy="2636785"/>
          </a:xfrm>
          <a:prstGeom prst="rect">
            <a:avLst/>
          </a:prstGeom>
        </p:spPr>
      </p:pic>
      <p:graphicFrame>
        <p:nvGraphicFramePr>
          <p:cNvPr id="3" name="Object 2" hidden="1">
            <a:extLst>
              <a:ext uri="{FF2B5EF4-FFF2-40B4-BE49-F238E27FC236}">
                <a16:creationId xmlns:a16="http://schemas.microsoft.com/office/drawing/2014/main" id="{720359B3-B4A2-9E22-EC7A-DFF0A50CBAB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4" progId="TCLayout.ActiveDocument.1">
                  <p:embed/>
                </p:oleObj>
              </mc:Choice>
              <mc:Fallback>
                <p:oleObj name="think-cell Slide" r:id="rId7" imgW="395" imgH="394" progId="TCLayout.ActiveDocument.1">
                  <p:embed/>
                  <p:pic>
                    <p:nvPicPr>
                      <p:cNvPr id="3" name="Object 2" hidden="1">
                        <a:extLst>
                          <a:ext uri="{FF2B5EF4-FFF2-40B4-BE49-F238E27FC236}">
                            <a16:creationId xmlns:a16="http://schemas.microsoft.com/office/drawing/2014/main" id="{720359B3-B4A2-9E22-EC7A-DFF0A50CBABB}"/>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CAB3FC15-2A6C-5697-7EFA-AB21C81941A1}"/>
              </a:ext>
            </a:extLst>
          </p:cNvPr>
          <p:cNvGrpSpPr/>
          <p:nvPr/>
        </p:nvGrpSpPr>
        <p:grpSpPr>
          <a:xfrm>
            <a:off x="11660635" y="1104552"/>
            <a:ext cx="144734" cy="128417"/>
            <a:chOff x="11633817" y="1102402"/>
            <a:chExt cx="231147" cy="205087"/>
          </a:xfrm>
        </p:grpSpPr>
        <p:sp>
          <p:nvSpPr>
            <p:cNvPr id="151" name="Freeform 19">
              <a:extLst>
                <a:ext uri="{FF2B5EF4-FFF2-40B4-BE49-F238E27FC236}">
                  <a16:creationId xmlns:a16="http://schemas.microsoft.com/office/drawing/2014/main" id="{7DC81354-4C31-0EE2-199D-782A39981655}"/>
                </a:ext>
              </a:extLst>
            </p:cNvPr>
            <p:cNvSpPr>
              <a:spLocks/>
            </p:cNvSpPr>
            <p:nvPr/>
          </p:nvSpPr>
          <p:spPr bwMode="auto">
            <a:xfrm>
              <a:off x="11676657" y="1169876"/>
              <a:ext cx="83691" cy="29778"/>
            </a:xfrm>
            <a:custGeom>
              <a:avLst/>
              <a:gdLst>
                <a:gd name="T0" fmla="*/ 107 w 206"/>
                <a:gd name="T1" fmla="*/ 77 h 77"/>
                <a:gd name="T2" fmla="*/ 107 w 206"/>
                <a:gd name="T3" fmla="*/ 77 h 77"/>
                <a:gd name="T4" fmla="*/ 106 w 206"/>
                <a:gd name="T5" fmla="*/ 77 h 77"/>
                <a:gd name="T6" fmla="*/ 5 w 206"/>
                <a:gd name="T7" fmla="*/ 26 h 77"/>
                <a:gd name="T8" fmla="*/ 8 w 206"/>
                <a:gd name="T9" fmla="*/ 5 h 77"/>
                <a:gd name="T10" fmla="*/ 29 w 206"/>
                <a:gd name="T11" fmla="*/ 8 h 77"/>
                <a:gd name="T12" fmla="*/ 107 w 206"/>
                <a:gd name="T13" fmla="*/ 46 h 77"/>
                <a:gd name="T14" fmla="*/ 177 w 206"/>
                <a:gd name="T15" fmla="*/ 7 h 77"/>
                <a:gd name="T16" fmla="*/ 199 w 206"/>
                <a:gd name="T17" fmla="*/ 5 h 77"/>
                <a:gd name="T18" fmla="*/ 201 w 206"/>
                <a:gd name="T19" fmla="*/ 26 h 77"/>
                <a:gd name="T20" fmla="*/ 107 w 206"/>
                <a:gd name="T21"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6" h="77">
                  <a:moveTo>
                    <a:pt x="107" y="77"/>
                  </a:moveTo>
                  <a:cubicBezTo>
                    <a:pt x="107" y="77"/>
                    <a:pt x="107" y="77"/>
                    <a:pt x="107" y="77"/>
                  </a:cubicBezTo>
                  <a:cubicBezTo>
                    <a:pt x="106" y="77"/>
                    <a:pt x="106" y="77"/>
                    <a:pt x="106" y="77"/>
                  </a:cubicBezTo>
                  <a:cubicBezTo>
                    <a:pt x="52" y="74"/>
                    <a:pt x="13" y="36"/>
                    <a:pt x="5" y="26"/>
                  </a:cubicBezTo>
                  <a:cubicBezTo>
                    <a:pt x="0" y="19"/>
                    <a:pt x="1" y="10"/>
                    <a:pt x="8" y="5"/>
                  </a:cubicBezTo>
                  <a:cubicBezTo>
                    <a:pt x="15" y="0"/>
                    <a:pt x="24" y="1"/>
                    <a:pt x="29" y="8"/>
                  </a:cubicBezTo>
                  <a:cubicBezTo>
                    <a:pt x="34" y="14"/>
                    <a:pt x="66" y="44"/>
                    <a:pt x="107" y="46"/>
                  </a:cubicBezTo>
                  <a:cubicBezTo>
                    <a:pt x="145" y="46"/>
                    <a:pt x="177" y="8"/>
                    <a:pt x="177" y="7"/>
                  </a:cubicBezTo>
                  <a:cubicBezTo>
                    <a:pt x="182" y="1"/>
                    <a:pt x="192" y="0"/>
                    <a:pt x="199" y="5"/>
                  </a:cubicBezTo>
                  <a:cubicBezTo>
                    <a:pt x="205" y="10"/>
                    <a:pt x="206" y="20"/>
                    <a:pt x="201" y="26"/>
                  </a:cubicBezTo>
                  <a:cubicBezTo>
                    <a:pt x="199" y="28"/>
                    <a:pt x="160" y="77"/>
                    <a:pt x="107" y="7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a:ln>
                  <a:noFill/>
                </a:ln>
                <a:solidFill>
                  <a:srgbClr val="000000"/>
                </a:solidFill>
                <a:effectLst/>
                <a:uLnTx/>
                <a:uFillTx/>
                <a:latin typeface="Arial" charset="0"/>
                <a:ea typeface="+mn-ea"/>
                <a:cs typeface="+mn-cs"/>
              </a:endParaRPr>
            </a:p>
          </p:txBody>
        </p:sp>
        <p:sp>
          <p:nvSpPr>
            <p:cNvPr id="152" name="Freeform 20">
              <a:extLst>
                <a:ext uri="{FF2B5EF4-FFF2-40B4-BE49-F238E27FC236}">
                  <a16:creationId xmlns:a16="http://schemas.microsoft.com/office/drawing/2014/main" id="{722F6C33-4488-EB74-6ECB-FCA3614A84C3}"/>
                </a:ext>
              </a:extLst>
            </p:cNvPr>
            <p:cNvSpPr>
              <a:spLocks noEditPoints="1"/>
            </p:cNvSpPr>
            <p:nvPr/>
          </p:nvSpPr>
          <p:spPr bwMode="auto">
            <a:xfrm>
              <a:off x="11633817" y="1102402"/>
              <a:ext cx="231147" cy="205087"/>
            </a:xfrm>
            <a:custGeom>
              <a:avLst/>
              <a:gdLst>
                <a:gd name="T0" fmla="*/ 550 w 570"/>
                <a:gd name="T1" fmla="*/ 406 h 524"/>
                <a:gd name="T2" fmla="*/ 397 w 570"/>
                <a:gd name="T3" fmla="*/ 305 h 524"/>
                <a:gd name="T4" fmla="*/ 395 w 570"/>
                <a:gd name="T5" fmla="*/ 304 h 524"/>
                <a:gd name="T6" fmla="*/ 418 w 570"/>
                <a:gd name="T7" fmla="*/ 209 h 524"/>
                <a:gd name="T8" fmla="*/ 209 w 570"/>
                <a:gd name="T9" fmla="*/ 0 h 524"/>
                <a:gd name="T10" fmla="*/ 0 w 570"/>
                <a:gd name="T11" fmla="*/ 209 h 524"/>
                <a:gd name="T12" fmla="*/ 209 w 570"/>
                <a:gd name="T13" fmla="*/ 418 h 524"/>
                <a:gd name="T14" fmla="*/ 336 w 570"/>
                <a:gd name="T15" fmla="*/ 375 h 524"/>
                <a:gd name="T16" fmla="*/ 337 w 570"/>
                <a:gd name="T17" fmla="*/ 376 h 524"/>
                <a:gd name="T18" fmla="*/ 464 w 570"/>
                <a:gd name="T19" fmla="*/ 510 h 524"/>
                <a:gd name="T20" fmla="*/ 520 w 570"/>
                <a:gd name="T21" fmla="*/ 505 h 524"/>
                <a:gd name="T22" fmla="*/ 556 w 570"/>
                <a:gd name="T23" fmla="*/ 462 h 524"/>
                <a:gd name="T24" fmla="*/ 550 w 570"/>
                <a:gd name="T25" fmla="*/ 406 h 524"/>
                <a:gd name="T26" fmla="*/ 209 w 570"/>
                <a:gd name="T27" fmla="*/ 364 h 524"/>
                <a:gd name="T28" fmla="*/ 54 w 570"/>
                <a:gd name="T29" fmla="*/ 209 h 524"/>
                <a:gd name="T30" fmla="*/ 209 w 570"/>
                <a:gd name="T31" fmla="*/ 54 h 524"/>
                <a:gd name="T32" fmla="*/ 364 w 570"/>
                <a:gd name="T33" fmla="*/ 209 h 524"/>
                <a:gd name="T34" fmla="*/ 209 w 570"/>
                <a:gd name="T35" fmla="*/ 36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0" h="524">
                  <a:moveTo>
                    <a:pt x="550" y="406"/>
                  </a:moveTo>
                  <a:cubicBezTo>
                    <a:pt x="397" y="305"/>
                    <a:pt x="397" y="305"/>
                    <a:pt x="397" y="305"/>
                  </a:cubicBezTo>
                  <a:cubicBezTo>
                    <a:pt x="396" y="305"/>
                    <a:pt x="396" y="304"/>
                    <a:pt x="395" y="304"/>
                  </a:cubicBezTo>
                  <a:cubicBezTo>
                    <a:pt x="410" y="276"/>
                    <a:pt x="418" y="243"/>
                    <a:pt x="418" y="209"/>
                  </a:cubicBezTo>
                  <a:cubicBezTo>
                    <a:pt x="418" y="94"/>
                    <a:pt x="324" y="0"/>
                    <a:pt x="209" y="0"/>
                  </a:cubicBezTo>
                  <a:cubicBezTo>
                    <a:pt x="94" y="0"/>
                    <a:pt x="0" y="94"/>
                    <a:pt x="0" y="209"/>
                  </a:cubicBezTo>
                  <a:cubicBezTo>
                    <a:pt x="0" y="324"/>
                    <a:pt x="94" y="418"/>
                    <a:pt x="209" y="418"/>
                  </a:cubicBezTo>
                  <a:cubicBezTo>
                    <a:pt x="257" y="418"/>
                    <a:pt x="301" y="402"/>
                    <a:pt x="336" y="375"/>
                  </a:cubicBezTo>
                  <a:cubicBezTo>
                    <a:pt x="336" y="375"/>
                    <a:pt x="337" y="376"/>
                    <a:pt x="337" y="376"/>
                  </a:cubicBezTo>
                  <a:cubicBezTo>
                    <a:pt x="464" y="510"/>
                    <a:pt x="464" y="510"/>
                    <a:pt x="464" y="510"/>
                  </a:cubicBezTo>
                  <a:cubicBezTo>
                    <a:pt x="481" y="524"/>
                    <a:pt x="506" y="522"/>
                    <a:pt x="520" y="505"/>
                  </a:cubicBezTo>
                  <a:cubicBezTo>
                    <a:pt x="556" y="462"/>
                    <a:pt x="556" y="462"/>
                    <a:pt x="556" y="462"/>
                  </a:cubicBezTo>
                  <a:cubicBezTo>
                    <a:pt x="570" y="445"/>
                    <a:pt x="567" y="420"/>
                    <a:pt x="550" y="406"/>
                  </a:cubicBezTo>
                  <a:close/>
                  <a:moveTo>
                    <a:pt x="209" y="364"/>
                  </a:moveTo>
                  <a:cubicBezTo>
                    <a:pt x="123" y="364"/>
                    <a:pt x="54" y="295"/>
                    <a:pt x="54" y="209"/>
                  </a:cubicBezTo>
                  <a:cubicBezTo>
                    <a:pt x="54" y="124"/>
                    <a:pt x="123" y="54"/>
                    <a:pt x="209" y="54"/>
                  </a:cubicBezTo>
                  <a:cubicBezTo>
                    <a:pt x="295" y="54"/>
                    <a:pt x="364" y="124"/>
                    <a:pt x="364" y="209"/>
                  </a:cubicBezTo>
                  <a:cubicBezTo>
                    <a:pt x="364" y="295"/>
                    <a:pt x="295" y="364"/>
                    <a:pt x="209" y="36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a:ln>
                  <a:noFill/>
                </a:ln>
                <a:solidFill>
                  <a:srgbClr val="000000"/>
                </a:solidFill>
                <a:effectLst/>
                <a:uLnTx/>
                <a:uFillTx/>
                <a:latin typeface="Arial" charset="0"/>
                <a:ea typeface="+mn-ea"/>
                <a:cs typeface="+mn-cs"/>
              </a:endParaRPr>
            </a:p>
          </p:txBody>
        </p:sp>
      </p:grpSp>
      <p:grpSp>
        <p:nvGrpSpPr>
          <p:cNvPr id="226" name="Group 225">
            <a:extLst>
              <a:ext uri="{FF2B5EF4-FFF2-40B4-BE49-F238E27FC236}">
                <a16:creationId xmlns:a16="http://schemas.microsoft.com/office/drawing/2014/main" id="{79622974-72D9-AF67-9330-744342A577F0}"/>
              </a:ext>
            </a:extLst>
          </p:cNvPr>
          <p:cNvGrpSpPr/>
          <p:nvPr/>
        </p:nvGrpSpPr>
        <p:grpSpPr>
          <a:xfrm>
            <a:off x="5713706" y="1094902"/>
            <a:ext cx="170146" cy="178230"/>
            <a:chOff x="5673258" y="927146"/>
            <a:chExt cx="251042" cy="262970"/>
          </a:xfrm>
        </p:grpSpPr>
        <p:sp>
          <p:nvSpPr>
            <p:cNvPr id="200" name="Freeform 14">
              <a:extLst>
                <a:ext uri="{FF2B5EF4-FFF2-40B4-BE49-F238E27FC236}">
                  <a16:creationId xmlns:a16="http://schemas.microsoft.com/office/drawing/2014/main" id="{F0A0AC75-ADAF-8371-0383-0F36DB6A6F43}"/>
                </a:ext>
              </a:extLst>
            </p:cNvPr>
            <p:cNvSpPr>
              <a:spLocks noEditPoints="1"/>
            </p:cNvSpPr>
            <p:nvPr/>
          </p:nvSpPr>
          <p:spPr bwMode="auto">
            <a:xfrm>
              <a:off x="5785978" y="927146"/>
              <a:ext cx="128800" cy="125036"/>
            </a:xfrm>
            <a:custGeom>
              <a:avLst/>
              <a:gdLst>
                <a:gd name="T0" fmla="*/ 203 w 203"/>
                <a:gd name="T1" fmla="*/ 121 h 204"/>
                <a:gd name="T2" fmla="*/ 203 w 203"/>
                <a:gd name="T3" fmla="*/ 83 h 204"/>
                <a:gd name="T4" fmla="*/ 177 w 203"/>
                <a:gd name="T5" fmla="*/ 79 h 204"/>
                <a:gd name="T6" fmla="*/ 171 w 203"/>
                <a:gd name="T7" fmla="*/ 66 h 204"/>
                <a:gd name="T8" fmla="*/ 187 w 203"/>
                <a:gd name="T9" fmla="*/ 44 h 204"/>
                <a:gd name="T10" fmla="*/ 160 w 203"/>
                <a:gd name="T11" fmla="*/ 17 h 204"/>
                <a:gd name="T12" fmla="*/ 138 w 203"/>
                <a:gd name="T13" fmla="*/ 32 h 204"/>
                <a:gd name="T14" fmla="*/ 125 w 203"/>
                <a:gd name="T15" fmla="*/ 27 h 204"/>
                <a:gd name="T16" fmla="*/ 120 w 203"/>
                <a:gd name="T17" fmla="*/ 0 h 204"/>
                <a:gd name="T18" fmla="*/ 83 w 203"/>
                <a:gd name="T19" fmla="*/ 0 h 204"/>
                <a:gd name="T20" fmla="*/ 78 w 203"/>
                <a:gd name="T21" fmla="*/ 27 h 204"/>
                <a:gd name="T22" fmla="*/ 65 w 203"/>
                <a:gd name="T23" fmla="*/ 32 h 204"/>
                <a:gd name="T24" fmla="*/ 43 w 203"/>
                <a:gd name="T25" fmla="*/ 17 h 204"/>
                <a:gd name="T26" fmla="*/ 16 w 203"/>
                <a:gd name="T27" fmla="*/ 44 h 204"/>
                <a:gd name="T28" fmla="*/ 32 w 203"/>
                <a:gd name="T29" fmla="*/ 66 h 204"/>
                <a:gd name="T30" fmla="*/ 27 w 203"/>
                <a:gd name="T31" fmla="*/ 79 h 204"/>
                <a:gd name="T32" fmla="*/ 0 w 203"/>
                <a:gd name="T33" fmla="*/ 83 h 204"/>
                <a:gd name="T34" fmla="*/ 0 w 203"/>
                <a:gd name="T35" fmla="*/ 121 h 204"/>
                <a:gd name="T36" fmla="*/ 27 w 203"/>
                <a:gd name="T37" fmla="*/ 125 h 204"/>
                <a:gd name="T38" fmla="*/ 32 w 203"/>
                <a:gd name="T39" fmla="*/ 139 h 204"/>
                <a:gd name="T40" fmla="*/ 16 w 203"/>
                <a:gd name="T41" fmla="*/ 161 h 204"/>
                <a:gd name="T42" fmla="*/ 43 w 203"/>
                <a:gd name="T43" fmla="*/ 187 h 204"/>
                <a:gd name="T44" fmla="*/ 65 w 203"/>
                <a:gd name="T45" fmla="*/ 172 h 204"/>
                <a:gd name="T46" fmla="*/ 78 w 203"/>
                <a:gd name="T47" fmla="*/ 177 h 204"/>
                <a:gd name="T48" fmla="*/ 83 w 203"/>
                <a:gd name="T49" fmla="*/ 204 h 204"/>
                <a:gd name="T50" fmla="*/ 120 w 203"/>
                <a:gd name="T51" fmla="*/ 204 h 204"/>
                <a:gd name="T52" fmla="*/ 125 w 203"/>
                <a:gd name="T53" fmla="*/ 177 h 204"/>
                <a:gd name="T54" fmla="*/ 138 w 203"/>
                <a:gd name="T55" fmla="*/ 172 h 204"/>
                <a:gd name="T56" fmla="*/ 160 w 203"/>
                <a:gd name="T57" fmla="*/ 187 h 204"/>
                <a:gd name="T58" fmla="*/ 187 w 203"/>
                <a:gd name="T59" fmla="*/ 161 h 204"/>
                <a:gd name="T60" fmla="*/ 171 w 203"/>
                <a:gd name="T61" fmla="*/ 139 h 204"/>
                <a:gd name="T62" fmla="*/ 177 w 203"/>
                <a:gd name="T63" fmla="*/ 125 h 204"/>
                <a:gd name="T64" fmla="*/ 203 w 203"/>
                <a:gd name="T65" fmla="*/ 121 h 204"/>
                <a:gd name="T66" fmla="*/ 102 w 203"/>
                <a:gd name="T67" fmla="*/ 136 h 204"/>
                <a:gd name="T68" fmla="*/ 68 w 203"/>
                <a:gd name="T69" fmla="*/ 102 h 204"/>
                <a:gd name="T70" fmla="*/ 102 w 203"/>
                <a:gd name="T71" fmla="*/ 69 h 204"/>
                <a:gd name="T72" fmla="*/ 135 w 203"/>
                <a:gd name="T73" fmla="*/ 102 h 204"/>
                <a:gd name="T74" fmla="*/ 102 w 203"/>
                <a:gd name="T75" fmla="*/ 13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3" h="204">
                  <a:moveTo>
                    <a:pt x="203" y="121"/>
                  </a:moveTo>
                  <a:cubicBezTo>
                    <a:pt x="203" y="83"/>
                    <a:pt x="203" y="83"/>
                    <a:pt x="203" y="83"/>
                  </a:cubicBezTo>
                  <a:cubicBezTo>
                    <a:pt x="177" y="79"/>
                    <a:pt x="177" y="79"/>
                    <a:pt x="177" y="79"/>
                  </a:cubicBezTo>
                  <a:cubicBezTo>
                    <a:pt x="175" y="74"/>
                    <a:pt x="173" y="70"/>
                    <a:pt x="171" y="66"/>
                  </a:cubicBezTo>
                  <a:cubicBezTo>
                    <a:pt x="187" y="44"/>
                    <a:pt x="187" y="44"/>
                    <a:pt x="187" y="44"/>
                  </a:cubicBezTo>
                  <a:cubicBezTo>
                    <a:pt x="160" y="17"/>
                    <a:pt x="160" y="17"/>
                    <a:pt x="160" y="17"/>
                  </a:cubicBezTo>
                  <a:cubicBezTo>
                    <a:pt x="138" y="32"/>
                    <a:pt x="138" y="32"/>
                    <a:pt x="138" y="32"/>
                  </a:cubicBezTo>
                  <a:cubicBezTo>
                    <a:pt x="134" y="30"/>
                    <a:pt x="130" y="28"/>
                    <a:pt x="125" y="27"/>
                  </a:cubicBezTo>
                  <a:cubicBezTo>
                    <a:pt x="120" y="0"/>
                    <a:pt x="120" y="0"/>
                    <a:pt x="120" y="0"/>
                  </a:cubicBezTo>
                  <a:cubicBezTo>
                    <a:pt x="83" y="0"/>
                    <a:pt x="83" y="0"/>
                    <a:pt x="83" y="0"/>
                  </a:cubicBezTo>
                  <a:cubicBezTo>
                    <a:pt x="78" y="27"/>
                    <a:pt x="78" y="27"/>
                    <a:pt x="78" y="27"/>
                  </a:cubicBezTo>
                  <a:cubicBezTo>
                    <a:pt x="74" y="28"/>
                    <a:pt x="69" y="30"/>
                    <a:pt x="65" y="32"/>
                  </a:cubicBezTo>
                  <a:cubicBezTo>
                    <a:pt x="43" y="17"/>
                    <a:pt x="43" y="17"/>
                    <a:pt x="43" y="17"/>
                  </a:cubicBezTo>
                  <a:cubicBezTo>
                    <a:pt x="16" y="44"/>
                    <a:pt x="16" y="44"/>
                    <a:pt x="16" y="44"/>
                  </a:cubicBezTo>
                  <a:cubicBezTo>
                    <a:pt x="32" y="66"/>
                    <a:pt x="32" y="66"/>
                    <a:pt x="32" y="66"/>
                  </a:cubicBezTo>
                  <a:cubicBezTo>
                    <a:pt x="30" y="70"/>
                    <a:pt x="28" y="74"/>
                    <a:pt x="27" y="79"/>
                  </a:cubicBezTo>
                  <a:cubicBezTo>
                    <a:pt x="0" y="83"/>
                    <a:pt x="0" y="83"/>
                    <a:pt x="0" y="83"/>
                  </a:cubicBezTo>
                  <a:cubicBezTo>
                    <a:pt x="0" y="121"/>
                    <a:pt x="0" y="121"/>
                    <a:pt x="0" y="121"/>
                  </a:cubicBezTo>
                  <a:cubicBezTo>
                    <a:pt x="27" y="125"/>
                    <a:pt x="27" y="125"/>
                    <a:pt x="27" y="125"/>
                  </a:cubicBezTo>
                  <a:cubicBezTo>
                    <a:pt x="28" y="130"/>
                    <a:pt x="30" y="134"/>
                    <a:pt x="32" y="139"/>
                  </a:cubicBezTo>
                  <a:cubicBezTo>
                    <a:pt x="16" y="161"/>
                    <a:pt x="16" y="161"/>
                    <a:pt x="16" y="161"/>
                  </a:cubicBezTo>
                  <a:cubicBezTo>
                    <a:pt x="43" y="187"/>
                    <a:pt x="43" y="187"/>
                    <a:pt x="43" y="187"/>
                  </a:cubicBezTo>
                  <a:cubicBezTo>
                    <a:pt x="65" y="172"/>
                    <a:pt x="65" y="172"/>
                    <a:pt x="65" y="172"/>
                  </a:cubicBezTo>
                  <a:cubicBezTo>
                    <a:pt x="69" y="174"/>
                    <a:pt x="74" y="176"/>
                    <a:pt x="78" y="177"/>
                  </a:cubicBezTo>
                  <a:cubicBezTo>
                    <a:pt x="83" y="204"/>
                    <a:pt x="83" y="204"/>
                    <a:pt x="83" y="204"/>
                  </a:cubicBezTo>
                  <a:cubicBezTo>
                    <a:pt x="120" y="204"/>
                    <a:pt x="120" y="204"/>
                    <a:pt x="120" y="204"/>
                  </a:cubicBezTo>
                  <a:cubicBezTo>
                    <a:pt x="125" y="177"/>
                    <a:pt x="125" y="177"/>
                    <a:pt x="125" y="177"/>
                  </a:cubicBezTo>
                  <a:cubicBezTo>
                    <a:pt x="130" y="176"/>
                    <a:pt x="134" y="174"/>
                    <a:pt x="138" y="172"/>
                  </a:cubicBezTo>
                  <a:cubicBezTo>
                    <a:pt x="160" y="187"/>
                    <a:pt x="160" y="187"/>
                    <a:pt x="160" y="187"/>
                  </a:cubicBezTo>
                  <a:cubicBezTo>
                    <a:pt x="187" y="161"/>
                    <a:pt x="187" y="161"/>
                    <a:pt x="187" y="161"/>
                  </a:cubicBezTo>
                  <a:cubicBezTo>
                    <a:pt x="171" y="139"/>
                    <a:pt x="171" y="139"/>
                    <a:pt x="171" y="139"/>
                  </a:cubicBezTo>
                  <a:cubicBezTo>
                    <a:pt x="173" y="134"/>
                    <a:pt x="175" y="130"/>
                    <a:pt x="177" y="125"/>
                  </a:cubicBezTo>
                  <a:lnTo>
                    <a:pt x="203" y="121"/>
                  </a:lnTo>
                  <a:close/>
                  <a:moveTo>
                    <a:pt x="102" y="136"/>
                  </a:moveTo>
                  <a:cubicBezTo>
                    <a:pt x="83" y="136"/>
                    <a:pt x="68" y="121"/>
                    <a:pt x="68" y="102"/>
                  </a:cubicBezTo>
                  <a:cubicBezTo>
                    <a:pt x="68" y="84"/>
                    <a:pt x="83" y="69"/>
                    <a:pt x="102" y="69"/>
                  </a:cubicBezTo>
                  <a:cubicBezTo>
                    <a:pt x="120" y="69"/>
                    <a:pt x="135" y="84"/>
                    <a:pt x="135" y="102"/>
                  </a:cubicBezTo>
                  <a:cubicBezTo>
                    <a:pt x="135" y="121"/>
                    <a:pt x="120" y="136"/>
                    <a:pt x="102" y="13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a:ln>
                  <a:noFill/>
                </a:ln>
                <a:solidFill>
                  <a:srgbClr val="000000"/>
                </a:solidFill>
                <a:effectLst/>
                <a:uLnTx/>
                <a:uFillTx/>
                <a:latin typeface="Arial" charset="0"/>
                <a:ea typeface="+mn-ea"/>
                <a:cs typeface="+mn-cs"/>
              </a:endParaRPr>
            </a:p>
          </p:txBody>
        </p:sp>
        <p:sp>
          <p:nvSpPr>
            <p:cNvPr id="94" name="Freeform 72">
              <a:extLst>
                <a:ext uri="{FF2B5EF4-FFF2-40B4-BE49-F238E27FC236}">
                  <a16:creationId xmlns:a16="http://schemas.microsoft.com/office/drawing/2014/main" id="{1CC326E0-91D5-F73D-8615-8C52AEF9FB87}"/>
                </a:ext>
              </a:extLst>
            </p:cNvPr>
            <p:cNvSpPr>
              <a:spLocks/>
            </p:cNvSpPr>
            <p:nvPr/>
          </p:nvSpPr>
          <p:spPr bwMode="auto">
            <a:xfrm>
              <a:off x="5673258" y="1061500"/>
              <a:ext cx="251042" cy="128616"/>
            </a:xfrm>
            <a:custGeom>
              <a:avLst/>
              <a:gdLst>
                <a:gd name="T0" fmla="*/ 17837 w 19529"/>
                <a:gd name="T1" fmla="*/ 367 h 10315"/>
                <a:gd name="T2" fmla="*/ 14525 w 19529"/>
                <a:gd name="T3" fmla="*/ 3687 h 10315"/>
                <a:gd name="T4" fmla="*/ 9377 w 19529"/>
                <a:gd name="T5" fmla="*/ 3687 h 10315"/>
                <a:gd name="T6" fmla="*/ 9190 w 19529"/>
                <a:gd name="T7" fmla="*/ 3499 h 10315"/>
                <a:gd name="T8" fmla="*/ 9190 w 19529"/>
                <a:gd name="T9" fmla="*/ 3311 h 10315"/>
                <a:gd name="T10" fmla="*/ 9377 w 19529"/>
                <a:gd name="T11" fmla="*/ 3123 h 10315"/>
                <a:gd name="T12" fmla="*/ 12406 w 19529"/>
                <a:gd name="T13" fmla="*/ 3123 h 10315"/>
                <a:gd name="T14" fmla="*/ 13344 w 19529"/>
                <a:gd name="T15" fmla="*/ 2183 h 10315"/>
                <a:gd name="T16" fmla="*/ 12406 w 19529"/>
                <a:gd name="T17" fmla="*/ 1243 h 10315"/>
                <a:gd name="T18" fmla="*/ 5021 w 19529"/>
                <a:gd name="T19" fmla="*/ 1243 h 10315"/>
                <a:gd name="T20" fmla="*/ 4358 w 19529"/>
                <a:gd name="T21" fmla="*/ 1518 h 10315"/>
                <a:gd name="T22" fmla="*/ 280 w 19529"/>
                <a:gd name="T23" fmla="*/ 5608 h 10315"/>
                <a:gd name="T24" fmla="*/ 5 w 19529"/>
                <a:gd name="T25" fmla="*/ 6291 h 10315"/>
                <a:gd name="T26" fmla="*/ 7 w 19529"/>
                <a:gd name="T27" fmla="*/ 9424 h 10315"/>
                <a:gd name="T28" fmla="*/ 279 w 19529"/>
                <a:gd name="T29" fmla="*/ 10040 h 10315"/>
                <a:gd name="T30" fmla="*/ 942 w 19529"/>
                <a:gd name="T31" fmla="*/ 10315 h 10315"/>
                <a:gd name="T32" fmla="*/ 1606 w 19529"/>
                <a:gd name="T33" fmla="*/ 10040 h 10315"/>
                <a:gd name="T34" fmla="*/ 5410 w 19529"/>
                <a:gd name="T35" fmla="*/ 6226 h 10315"/>
                <a:gd name="T36" fmla="*/ 14257 w 19529"/>
                <a:gd name="T37" fmla="*/ 6226 h 10315"/>
                <a:gd name="T38" fmla="*/ 14920 w 19529"/>
                <a:gd name="T39" fmla="*/ 5951 h 10315"/>
                <a:gd name="T40" fmla="*/ 19163 w 19529"/>
                <a:gd name="T41" fmla="*/ 1697 h 10315"/>
                <a:gd name="T42" fmla="*/ 19163 w 19529"/>
                <a:gd name="T43" fmla="*/ 367 h 10315"/>
                <a:gd name="T44" fmla="*/ 17837 w 19529"/>
                <a:gd name="T45" fmla="*/ 367 h 10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529" h="10315">
                  <a:moveTo>
                    <a:pt x="17837" y="367"/>
                  </a:moveTo>
                  <a:lnTo>
                    <a:pt x="14525" y="3687"/>
                  </a:lnTo>
                  <a:lnTo>
                    <a:pt x="9377" y="3687"/>
                  </a:lnTo>
                  <a:cubicBezTo>
                    <a:pt x="9274" y="3687"/>
                    <a:pt x="9190" y="3603"/>
                    <a:pt x="9190" y="3499"/>
                  </a:cubicBezTo>
                  <a:lnTo>
                    <a:pt x="9190" y="3311"/>
                  </a:lnTo>
                  <a:cubicBezTo>
                    <a:pt x="9190" y="3207"/>
                    <a:pt x="9274" y="3123"/>
                    <a:pt x="9377" y="3123"/>
                  </a:cubicBezTo>
                  <a:lnTo>
                    <a:pt x="12406" y="3123"/>
                  </a:lnTo>
                  <a:cubicBezTo>
                    <a:pt x="12924" y="3123"/>
                    <a:pt x="13344" y="2702"/>
                    <a:pt x="13344" y="2183"/>
                  </a:cubicBezTo>
                  <a:cubicBezTo>
                    <a:pt x="13344" y="1664"/>
                    <a:pt x="12924" y="1243"/>
                    <a:pt x="12406" y="1243"/>
                  </a:cubicBezTo>
                  <a:lnTo>
                    <a:pt x="5021" y="1243"/>
                  </a:lnTo>
                  <a:cubicBezTo>
                    <a:pt x="4773" y="1243"/>
                    <a:pt x="4534" y="1342"/>
                    <a:pt x="4358" y="1518"/>
                  </a:cubicBezTo>
                  <a:lnTo>
                    <a:pt x="280" y="5608"/>
                  </a:lnTo>
                  <a:cubicBezTo>
                    <a:pt x="92" y="5796"/>
                    <a:pt x="0" y="6045"/>
                    <a:pt x="5" y="6291"/>
                  </a:cubicBezTo>
                  <a:cubicBezTo>
                    <a:pt x="9" y="6463"/>
                    <a:pt x="1" y="9296"/>
                    <a:pt x="7" y="9424"/>
                  </a:cubicBezTo>
                  <a:cubicBezTo>
                    <a:pt x="18" y="9648"/>
                    <a:pt x="109" y="9869"/>
                    <a:pt x="279" y="10040"/>
                  </a:cubicBezTo>
                  <a:cubicBezTo>
                    <a:pt x="462" y="10223"/>
                    <a:pt x="702" y="10315"/>
                    <a:pt x="942" y="10315"/>
                  </a:cubicBezTo>
                  <a:cubicBezTo>
                    <a:pt x="1182" y="10315"/>
                    <a:pt x="1422" y="10223"/>
                    <a:pt x="1606" y="10040"/>
                  </a:cubicBezTo>
                  <a:lnTo>
                    <a:pt x="5410" y="6226"/>
                  </a:lnTo>
                  <a:lnTo>
                    <a:pt x="14257" y="6226"/>
                  </a:lnTo>
                  <a:cubicBezTo>
                    <a:pt x="14506" y="6226"/>
                    <a:pt x="14744" y="6127"/>
                    <a:pt x="14920" y="5951"/>
                  </a:cubicBezTo>
                  <a:lnTo>
                    <a:pt x="19163" y="1697"/>
                  </a:lnTo>
                  <a:cubicBezTo>
                    <a:pt x="19529" y="1329"/>
                    <a:pt x="19529" y="734"/>
                    <a:pt x="19163" y="367"/>
                  </a:cubicBezTo>
                  <a:cubicBezTo>
                    <a:pt x="18797" y="0"/>
                    <a:pt x="18203" y="0"/>
                    <a:pt x="17837" y="367"/>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charset="0"/>
                <a:ea typeface="+mn-ea"/>
                <a:cs typeface="+mn-cs"/>
              </a:endParaRPr>
            </a:p>
          </p:txBody>
        </p:sp>
      </p:grpSp>
      <p:sp>
        <p:nvSpPr>
          <p:cNvPr id="72" name="Title 1">
            <a:extLst>
              <a:ext uri="{FF2B5EF4-FFF2-40B4-BE49-F238E27FC236}">
                <a16:creationId xmlns:a16="http://schemas.microsoft.com/office/drawing/2014/main" id="{3122C3FA-327E-11E2-4912-95BCC63E88C7}"/>
              </a:ext>
            </a:extLst>
          </p:cNvPr>
          <p:cNvSpPr>
            <a:spLocks noGrp="1"/>
          </p:cNvSpPr>
          <p:nvPr>
            <p:ph type="title"/>
          </p:nvPr>
        </p:nvSpPr>
        <p:spPr bwMode="gray">
          <a:xfrm>
            <a:off x="0" y="0"/>
            <a:ext cx="12191979" cy="1292630"/>
          </a:xfrm>
          <a:prstGeom prst="rect">
            <a:avLst/>
          </a:prstGeom>
          <a:solidFill>
            <a:srgbClr val="002576"/>
          </a:solidFill>
          <a:ln>
            <a:noFill/>
          </a:ln>
          <a:effectLst/>
        </p:spPr>
        <p:txBody>
          <a:bodyPr vert="horz" wrap="square" lIns="91440" tIns="45720" rIns="91440" bIns="45720" numCol="1" rtlCol="0" anchor="ctr" anchorCtr="0" compatLnSpc="1">
            <a:prstTxWarp prst="textNoShape">
              <a:avLst/>
            </a:prstTxWarp>
            <a:noAutofit/>
          </a:bodyPr>
          <a:lstStyle/>
          <a:p>
            <a:pPr algn="ctr" defTabSz="457200">
              <a:spcAft>
                <a:spcPts val="0"/>
              </a:spcAft>
              <a:tabLst/>
            </a:pPr>
            <a:r>
              <a:rPr lang="en-US" sz="2800" dirty="0">
                <a:solidFill>
                  <a:schemeClr val="bg1"/>
                </a:solidFill>
                <a:latin typeface="Arial Black"/>
              </a:rPr>
              <a:t>Is My Project a Good Fit for MEDC Funding?</a:t>
            </a:r>
            <a:endParaRPr lang="en-US" sz="2800" dirty="0">
              <a:solidFill>
                <a:schemeClr val="bg1"/>
              </a:solidFill>
            </a:endParaRPr>
          </a:p>
        </p:txBody>
      </p:sp>
      <p:sp>
        <p:nvSpPr>
          <p:cNvPr id="4" name="Rectangle 3" hidden="1">
            <a:extLst>
              <a:ext uri="{FF2B5EF4-FFF2-40B4-BE49-F238E27FC236}">
                <a16:creationId xmlns:a16="http://schemas.microsoft.com/office/drawing/2014/main" id="{E51B8955-B91B-00FC-A71E-D0BA5F1239B0}"/>
              </a:ext>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9" name="Rectangle 8">
            <a:extLst>
              <a:ext uri="{FF2B5EF4-FFF2-40B4-BE49-F238E27FC236}">
                <a16:creationId xmlns:a16="http://schemas.microsoft.com/office/drawing/2014/main" id="{DF2DB3E4-DF4E-57F8-ADAE-25C73F320ECE}"/>
              </a:ext>
            </a:extLst>
          </p:cNvPr>
          <p:cNvSpPr/>
          <p:nvPr/>
        </p:nvSpPr>
        <p:spPr>
          <a:xfrm>
            <a:off x="10883" y="1291012"/>
            <a:ext cx="12192000" cy="87733"/>
          </a:xfrm>
          <a:prstGeom prst="rect">
            <a:avLst/>
          </a:prstGeom>
          <a:solidFill>
            <a:srgbClr val="9CCF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extBox 1">
            <a:extLst>
              <a:ext uri="{FF2B5EF4-FFF2-40B4-BE49-F238E27FC236}">
                <a16:creationId xmlns:a16="http://schemas.microsoft.com/office/drawing/2014/main" id="{C3D76119-03DE-E0F9-F2FC-5FE508FE3752}"/>
              </a:ext>
            </a:extLst>
          </p:cNvPr>
          <p:cNvSpPr txBox="1"/>
          <p:nvPr/>
        </p:nvSpPr>
        <p:spPr>
          <a:xfrm>
            <a:off x="6250928" y="1741037"/>
            <a:ext cx="5786123" cy="486287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dirty="0">
              <a:ln>
                <a:noFill/>
              </a:ln>
              <a:effectLst/>
              <a:uLnTx/>
              <a:uFillTx/>
              <a:latin typeface="Aptos Narrow"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dirty="0">
                <a:ln>
                  <a:noFill/>
                </a:ln>
                <a:effectLst/>
                <a:uLnTx/>
                <a:uFillTx/>
                <a:latin typeface="Aptos Narrow" panose="020B0004020202020204" pitchFamily="34" charset="0"/>
                <a:ea typeface="+mn-ea"/>
                <a:cs typeface="+mn-cs"/>
              </a:rPr>
              <a:t>Can You Answer “Yes” to These Question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effectLst/>
              <a:uLnTx/>
              <a:uFillTx/>
              <a:latin typeface="Aptos Narrow"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effectLst/>
                <a:uLnTx/>
                <a:uFillTx/>
                <a:latin typeface="Aptos Narrow" panose="020B0004020202020204" pitchFamily="34" charset="0"/>
                <a:ea typeface="+mn-ea"/>
                <a:cs typeface="+mn-cs"/>
              </a:rPr>
              <a:t>Will the project fully activate a vacant or underutilized property within a quarter-mile of downtown? </a:t>
            </a:r>
            <a:r>
              <a:rPr kumimoji="0" lang="en-US" sz="2400" b="0" i="1" u="sng" strike="noStrike" kern="1200" cap="none" spc="0" normalizeH="0" baseline="0" noProof="0" dirty="0">
                <a:ln>
                  <a:noFill/>
                </a:ln>
                <a:effectLst/>
                <a:uLnTx/>
                <a:uFillTx/>
                <a:latin typeface="Aptos Narrow" panose="020B0004020202020204" pitchFamily="34" charset="0"/>
                <a:ea typeface="+mn-ea"/>
                <a:cs typeface="+mn-cs"/>
              </a:rPr>
              <a:t>OR</a:t>
            </a:r>
            <a:r>
              <a:rPr kumimoji="0" lang="en-US" sz="2400" b="0" i="0" u="none" strike="noStrike" kern="1200" cap="none" spc="0" normalizeH="0" baseline="0" noProof="0" dirty="0">
                <a:ln>
                  <a:noFill/>
                </a:ln>
                <a:effectLst/>
                <a:uLnTx/>
                <a:uFillTx/>
                <a:latin typeface="Aptos Narrow" panose="020B0004020202020204" pitchFamily="34" charset="0"/>
                <a:ea typeface="+mn-ea"/>
                <a:cs typeface="+mn-cs"/>
              </a:rPr>
              <a:t> Will new construction in this side add vibrancy and density to downtown?</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400" dirty="0">
              <a:latin typeface="Aptos Narrow" panose="020B00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effectLst/>
                <a:uLnTx/>
                <a:uFillTx/>
                <a:latin typeface="Aptos Narrow" panose="020B0004020202020204" pitchFamily="34" charset="0"/>
                <a:ea typeface="+mn-ea"/>
                <a:cs typeface="+mn-cs"/>
              </a:rPr>
              <a:t>Will the project be commercial or mixed-use?</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400" dirty="0">
              <a:latin typeface="Aptos Narrow" panose="020B00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a:ln>
                  <a:noFill/>
                </a:ln>
                <a:effectLst/>
                <a:uLnTx/>
                <a:uFillTx/>
                <a:latin typeface="Aptos Narrow" panose="020B0004020202020204" pitchFamily="34" charset="0"/>
                <a:ea typeface="+mn-ea"/>
                <a:cs typeface="+mn-cs"/>
              </a:rPr>
              <a:t>Is there a financial gap in the projec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effectLst/>
              <a:uLnTx/>
              <a:uFillTx/>
              <a:latin typeface="Aptos Narrow" panose="020B00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200" b="0" i="0" u="none" strike="noStrike" kern="1200" cap="none" spc="0" normalizeH="0" baseline="0" noProof="0" dirty="0">
              <a:ln>
                <a:noFill/>
              </a:ln>
              <a:effectLst/>
              <a:uLnTx/>
              <a:uFillTx/>
              <a:latin typeface="Aptos Narrow" panose="020B0004020202020204" pitchFamily="34" charset="0"/>
              <a:ea typeface="+mn-ea"/>
              <a:cs typeface="+mn-cs"/>
            </a:endParaRPr>
          </a:p>
        </p:txBody>
      </p:sp>
    </p:spTree>
    <p:extLst>
      <p:ext uri="{BB962C8B-B14F-4D97-AF65-F5344CB8AC3E}">
        <p14:creationId xmlns:p14="http://schemas.microsoft.com/office/powerpoint/2010/main" val="23581121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02381AF-D4DA-561F-43EB-D90D78CD01D1}"/>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B079B7C-A0BE-B034-D70B-D87BCD17691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8B079B7C-A0BE-B034-D70B-D87BCD17691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A1AE115B-0031-827C-C1EB-402604146972}"/>
              </a:ext>
            </a:extLst>
          </p:cNvPr>
          <p:cNvGrpSpPr/>
          <p:nvPr/>
        </p:nvGrpSpPr>
        <p:grpSpPr>
          <a:xfrm>
            <a:off x="11660635" y="1104552"/>
            <a:ext cx="144734" cy="128417"/>
            <a:chOff x="11633817" y="1102402"/>
            <a:chExt cx="231147" cy="205087"/>
          </a:xfrm>
        </p:grpSpPr>
        <p:sp>
          <p:nvSpPr>
            <p:cNvPr id="151" name="Freeform 19">
              <a:extLst>
                <a:ext uri="{FF2B5EF4-FFF2-40B4-BE49-F238E27FC236}">
                  <a16:creationId xmlns:a16="http://schemas.microsoft.com/office/drawing/2014/main" id="{33D86C4F-F9D3-D35F-077E-FEFF915F54F1}"/>
                </a:ext>
              </a:extLst>
            </p:cNvPr>
            <p:cNvSpPr>
              <a:spLocks/>
            </p:cNvSpPr>
            <p:nvPr/>
          </p:nvSpPr>
          <p:spPr bwMode="auto">
            <a:xfrm>
              <a:off x="11676657" y="1169876"/>
              <a:ext cx="83691" cy="29778"/>
            </a:xfrm>
            <a:custGeom>
              <a:avLst/>
              <a:gdLst>
                <a:gd name="T0" fmla="*/ 107 w 206"/>
                <a:gd name="T1" fmla="*/ 77 h 77"/>
                <a:gd name="T2" fmla="*/ 107 w 206"/>
                <a:gd name="T3" fmla="*/ 77 h 77"/>
                <a:gd name="T4" fmla="*/ 106 w 206"/>
                <a:gd name="T5" fmla="*/ 77 h 77"/>
                <a:gd name="T6" fmla="*/ 5 w 206"/>
                <a:gd name="T7" fmla="*/ 26 h 77"/>
                <a:gd name="T8" fmla="*/ 8 w 206"/>
                <a:gd name="T9" fmla="*/ 5 h 77"/>
                <a:gd name="T10" fmla="*/ 29 w 206"/>
                <a:gd name="T11" fmla="*/ 8 h 77"/>
                <a:gd name="T12" fmla="*/ 107 w 206"/>
                <a:gd name="T13" fmla="*/ 46 h 77"/>
                <a:gd name="T14" fmla="*/ 177 w 206"/>
                <a:gd name="T15" fmla="*/ 7 h 77"/>
                <a:gd name="T16" fmla="*/ 199 w 206"/>
                <a:gd name="T17" fmla="*/ 5 h 77"/>
                <a:gd name="T18" fmla="*/ 201 w 206"/>
                <a:gd name="T19" fmla="*/ 26 h 77"/>
                <a:gd name="T20" fmla="*/ 107 w 206"/>
                <a:gd name="T21"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6" h="77">
                  <a:moveTo>
                    <a:pt x="107" y="77"/>
                  </a:moveTo>
                  <a:cubicBezTo>
                    <a:pt x="107" y="77"/>
                    <a:pt x="107" y="77"/>
                    <a:pt x="107" y="77"/>
                  </a:cubicBezTo>
                  <a:cubicBezTo>
                    <a:pt x="106" y="77"/>
                    <a:pt x="106" y="77"/>
                    <a:pt x="106" y="77"/>
                  </a:cubicBezTo>
                  <a:cubicBezTo>
                    <a:pt x="52" y="74"/>
                    <a:pt x="13" y="36"/>
                    <a:pt x="5" y="26"/>
                  </a:cubicBezTo>
                  <a:cubicBezTo>
                    <a:pt x="0" y="19"/>
                    <a:pt x="1" y="10"/>
                    <a:pt x="8" y="5"/>
                  </a:cubicBezTo>
                  <a:cubicBezTo>
                    <a:pt x="15" y="0"/>
                    <a:pt x="24" y="1"/>
                    <a:pt x="29" y="8"/>
                  </a:cubicBezTo>
                  <a:cubicBezTo>
                    <a:pt x="34" y="14"/>
                    <a:pt x="66" y="44"/>
                    <a:pt x="107" y="46"/>
                  </a:cubicBezTo>
                  <a:cubicBezTo>
                    <a:pt x="145" y="46"/>
                    <a:pt x="177" y="8"/>
                    <a:pt x="177" y="7"/>
                  </a:cubicBezTo>
                  <a:cubicBezTo>
                    <a:pt x="182" y="1"/>
                    <a:pt x="192" y="0"/>
                    <a:pt x="199" y="5"/>
                  </a:cubicBezTo>
                  <a:cubicBezTo>
                    <a:pt x="205" y="10"/>
                    <a:pt x="206" y="20"/>
                    <a:pt x="201" y="26"/>
                  </a:cubicBezTo>
                  <a:cubicBezTo>
                    <a:pt x="199" y="28"/>
                    <a:pt x="160" y="77"/>
                    <a:pt x="107" y="7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a:ln>
                  <a:noFill/>
                </a:ln>
                <a:solidFill>
                  <a:srgbClr val="000000"/>
                </a:solidFill>
                <a:effectLst/>
                <a:uLnTx/>
                <a:uFillTx/>
                <a:latin typeface="Arial" charset="0"/>
                <a:ea typeface="+mn-ea"/>
                <a:cs typeface="+mn-cs"/>
              </a:endParaRPr>
            </a:p>
          </p:txBody>
        </p:sp>
        <p:sp>
          <p:nvSpPr>
            <p:cNvPr id="152" name="Freeform 20">
              <a:extLst>
                <a:ext uri="{FF2B5EF4-FFF2-40B4-BE49-F238E27FC236}">
                  <a16:creationId xmlns:a16="http://schemas.microsoft.com/office/drawing/2014/main" id="{B45F74FA-1485-AB21-6E9D-9CCD54D604CA}"/>
                </a:ext>
              </a:extLst>
            </p:cNvPr>
            <p:cNvSpPr>
              <a:spLocks noEditPoints="1"/>
            </p:cNvSpPr>
            <p:nvPr/>
          </p:nvSpPr>
          <p:spPr bwMode="auto">
            <a:xfrm>
              <a:off x="11633817" y="1102402"/>
              <a:ext cx="231147" cy="205087"/>
            </a:xfrm>
            <a:custGeom>
              <a:avLst/>
              <a:gdLst>
                <a:gd name="T0" fmla="*/ 550 w 570"/>
                <a:gd name="T1" fmla="*/ 406 h 524"/>
                <a:gd name="T2" fmla="*/ 397 w 570"/>
                <a:gd name="T3" fmla="*/ 305 h 524"/>
                <a:gd name="T4" fmla="*/ 395 w 570"/>
                <a:gd name="T5" fmla="*/ 304 h 524"/>
                <a:gd name="T6" fmla="*/ 418 w 570"/>
                <a:gd name="T7" fmla="*/ 209 h 524"/>
                <a:gd name="T8" fmla="*/ 209 w 570"/>
                <a:gd name="T9" fmla="*/ 0 h 524"/>
                <a:gd name="T10" fmla="*/ 0 w 570"/>
                <a:gd name="T11" fmla="*/ 209 h 524"/>
                <a:gd name="T12" fmla="*/ 209 w 570"/>
                <a:gd name="T13" fmla="*/ 418 h 524"/>
                <a:gd name="T14" fmla="*/ 336 w 570"/>
                <a:gd name="T15" fmla="*/ 375 h 524"/>
                <a:gd name="T16" fmla="*/ 337 w 570"/>
                <a:gd name="T17" fmla="*/ 376 h 524"/>
                <a:gd name="T18" fmla="*/ 464 w 570"/>
                <a:gd name="T19" fmla="*/ 510 h 524"/>
                <a:gd name="T20" fmla="*/ 520 w 570"/>
                <a:gd name="T21" fmla="*/ 505 h 524"/>
                <a:gd name="T22" fmla="*/ 556 w 570"/>
                <a:gd name="T23" fmla="*/ 462 h 524"/>
                <a:gd name="T24" fmla="*/ 550 w 570"/>
                <a:gd name="T25" fmla="*/ 406 h 524"/>
                <a:gd name="T26" fmla="*/ 209 w 570"/>
                <a:gd name="T27" fmla="*/ 364 h 524"/>
                <a:gd name="T28" fmla="*/ 54 w 570"/>
                <a:gd name="T29" fmla="*/ 209 h 524"/>
                <a:gd name="T30" fmla="*/ 209 w 570"/>
                <a:gd name="T31" fmla="*/ 54 h 524"/>
                <a:gd name="T32" fmla="*/ 364 w 570"/>
                <a:gd name="T33" fmla="*/ 209 h 524"/>
                <a:gd name="T34" fmla="*/ 209 w 570"/>
                <a:gd name="T35" fmla="*/ 36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0" h="524">
                  <a:moveTo>
                    <a:pt x="550" y="406"/>
                  </a:moveTo>
                  <a:cubicBezTo>
                    <a:pt x="397" y="305"/>
                    <a:pt x="397" y="305"/>
                    <a:pt x="397" y="305"/>
                  </a:cubicBezTo>
                  <a:cubicBezTo>
                    <a:pt x="396" y="305"/>
                    <a:pt x="396" y="304"/>
                    <a:pt x="395" y="304"/>
                  </a:cubicBezTo>
                  <a:cubicBezTo>
                    <a:pt x="410" y="276"/>
                    <a:pt x="418" y="243"/>
                    <a:pt x="418" y="209"/>
                  </a:cubicBezTo>
                  <a:cubicBezTo>
                    <a:pt x="418" y="94"/>
                    <a:pt x="324" y="0"/>
                    <a:pt x="209" y="0"/>
                  </a:cubicBezTo>
                  <a:cubicBezTo>
                    <a:pt x="94" y="0"/>
                    <a:pt x="0" y="94"/>
                    <a:pt x="0" y="209"/>
                  </a:cubicBezTo>
                  <a:cubicBezTo>
                    <a:pt x="0" y="324"/>
                    <a:pt x="94" y="418"/>
                    <a:pt x="209" y="418"/>
                  </a:cubicBezTo>
                  <a:cubicBezTo>
                    <a:pt x="257" y="418"/>
                    <a:pt x="301" y="402"/>
                    <a:pt x="336" y="375"/>
                  </a:cubicBezTo>
                  <a:cubicBezTo>
                    <a:pt x="336" y="375"/>
                    <a:pt x="337" y="376"/>
                    <a:pt x="337" y="376"/>
                  </a:cubicBezTo>
                  <a:cubicBezTo>
                    <a:pt x="464" y="510"/>
                    <a:pt x="464" y="510"/>
                    <a:pt x="464" y="510"/>
                  </a:cubicBezTo>
                  <a:cubicBezTo>
                    <a:pt x="481" y="524"/>
                    <a:pt x="506" y="522"/>
                    <a:pt x="520" y="505"/>
                  </a:cubicBezTo>
                  <a:cubicBezTo>
                    <a:pt x="556" y="462"/>
                    <a:pt x="556" y="462"/>
                    <a:pt x="556" y="462"/>
                  </a:cubicBezTo>
                  <a:cubicBezTo>
                    <a:pt x="570" y="445"/>
                    <a:pt x="567" y="420"/>
                    <a:pt x="550" y="406"/>
                  </a:cubicBezTo>
                  <a:close/>
                  <a:moveTo>
                    <a:pt x="209" y="364"/>
                  </a:moveTo>
                  <a:cubicBezTo>
                    <a:pt x="123" y="364"/>
                    <a:pt x="54" y="295"/>
                    <a:pt x="54" y="209"/>
                  </a:cubicBezTo>
                  <a:cubicBezTo>
                    <a:pt x="54" y="124"/>
                    <a:pt x="123" y="54"/>
                    <a:pt x="209" y="54"/>
                  </a:cubicBezTo>
                  <a:cubicBezTo>
                    <a:pt x="295" y="54"/>
                    <a:pt x="364" y="124"/>
                    <a:pt x="364" y="209"/>
                  </a:cubicBezTo>
                  <a:cubicBezTo>
                    <a:pt x="364" y="295"/>
                    <a:pt x="295" y="364"/>
                    <a:pt x="209" y="36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a:ln>
                  <a:noFill/>
                </a:ln>
                <a:solidFill>
                  <a:srgbClr val="000000"/>
                </a:solidFill>
                <a:effectLst/>
                <a:uLnTx/>
                <a:uFillTx/>
                <a:latin typeface="Arial" charset="0"/>
                <a:ea typeface="+mn-ea"/>
                <a:cs typeface="+mn-cs"/>
              </a:endParaRPr>
            </a:p>
          </p:txBody>
        </p:sp>
      </p:grpSp>
      <p:grpSp>
        <p:nvGrpSpPr>
          <p:cNvPr id="226" name="Group 225">
            <a:extLst>
              <a:ext uri="{FF2B5EF4-FFF2-40B4-BE49-F238E27FC236}">
                <a16:creationId xmlns:a16="http://schemas.microsoft.com/office/drawing/2014/main" id="{E5A67E52-442E-3742-BCF5-7DD69EA5989C}"/>
              </a:ext>
            </a:extLst>
          </p:cNvPr>
          <p:cNvGrpSpPr/>
          <p:nvPr/>
        </p:nvGrpSpPr>
        <p:grpSpPr>
          <a:xfrm>
            <a:off x="5713706" y="1094902"/>
            <a:ext cx="170146" cy="178230"/>
            <a:chOff x="5673258" y="927146"/>
            <a:chExt cx="251042" cy="262970"/>
          </a:xfrm>
        </p:grpSpPr>
        <p:sp>
          <p:nvSpPr>
            <p:cNvPr id="200" name="Freeform 14">
              <a:extLst>
                <a:ext uri="{FF2B5EF4-FFF2-40B4-BE49-F238E27FC236}">
                  <a16:creationId xmlns:a16="http://schemas.microsoft.com/office/drawing/2014/main" id="{952906EB-1FF0-118B-1BA5-71465DD30887}"/>
                </a:ext>
              </a:extLst>
            </p:cNvPr>
            <p:cNvSpPr>
              <a:spLocks noEditPoints="1"/>
            </p:cNvSpPr>
            <p:nvPr/>
          </p:nvSpPr>
          <p:spPr bwMode="auto">
            <a:xfrm>
              <a:off x="5785978" y="927146"/>
              <a:ext cx="128800" cy="125036"/>
            </a:xfrm>
            <a:custGeom>
              <a:avLst/>
              <a:gdLst>
                <a:gd name="T0" fmla="*/ 203 w 203"/>
                <a:gd name="T1" fmla="*/ 121 h 204"/>
                <a:gd name="T2" fmla="*/ 203 w 203"/>
                <a:gd name="T3" fmla="*/ 83 h 204"/>
                <a:gd name="T4" fmla="*/ 177 w 203"/>
                <a:gd name="T5" fmla="*/ 79 h 204"/>
                <a:gd name="T6" fmla="*/ 171 w 203"/>
                <a:gd name="T7" fmla="*/ 66 h 204"/>
                <a:gd name="T8" fmla="*/ 187 w 203"/>
                <a:gd name="T9" fmla="*/ 44 h 204"/>
                <a:gd name="T10" fmla="*/ 160 w 203"/>
                <a:gd name="T11" fmla="*/ 17 h 204"/>
                <a:gd name="T12" fmla="*/ 138 w 203"/>
                <a:gd name="T13" fmla="*/ 32 h 204"/>
                <a:gd name="T14" fmla="*/ 125 w 203"/>
                <a:gd name="T15" fmla="*/ 27 h 204"/>
                <a:gd name="T16" fmla="*/ 120 w 203"/>
                <a:gd name="T17" fmla="*/ 0 h 204"/>
                <a:gd name="T18" fmla="*/ 83 w 203"/>
                <a:gd name="T19" fmla="*/ 0 h 204"/>
                <a:gd name="T20" fmla="*/ 78 w 203"/>
                <a:gd name="T21" fmla="*/ 27 h 204"/>
                <a:gd name="T22" fmla="*/ 65 w 203"/>
                <a:gd name="T23" fmla="*/ 32 h 204"/>
                <a:gd name="T24" fmla="*/ 43 w 203"/>
                <a:gd name="T25" fmla="*/ 17 h 204"/>
                <a:gd name="T26" fmla="*/ 16 w 203"/>
                <a:gd name="T27" fmla="*/ 44 h 204"/>
                <a:gd name="T28" fmla="*/ 32 w 203"/>
                <a:gd name="T29" fmla="*/ 66 h 204"/>
                <a:gd name="T30" fmla="*/ 27 w 203"/>
                <a:gd name="T31" fmla="*/ 79 h 204"/>
                <a:gd name="T32" fmla="*/ 0 w 203"/>
                <a:gd name="T33" fmla="*/ 83 h 204"/>
                <a:gd name="T34" fmla="*/ 0 w 203"/>
                <a:gd name="T35" fmla="*/ 121 h 204"/>
                <a:gd name="T36" fmla="*/ 27 w 203"/>
                <a:gd name="T37" fmla="*/ 125 h 204"/>
                <a:gd name="T38" fmla="*/ 32 w 203"/>
                <a:gd name="T39" fmla="*/ 139 h 204"/>
                <a:gd name="T40" fmla="*/ 16 w 203"/>
                <a:gd name="T41" fmla="*/ 161 h 204"/>
                <a:gd name="T42" fmla="*/ 43 w 203"/>
                <a:gd name="T43" fmla="*/ 187 h 204"/>
                <a:gd name="T44" fmla="*/ 65 w 203"/>
                <a:gd name="T45" fmla="*/ 172 h 204"/>
                <a:gd name="T46" fmla="*/ 78 w 203"/>
                <a:gd name="T47" fmla="*/ 177 h 204"/>
                <a:gd name="T48" fmla="*/ 83 w 203"/>
                <a:gd name="T49" fmla="*/ 204 h 204"/>
                <a:gd name="T50" fmla="*/ 120 w 203"/>
                <a:gd name="T51" fmla="*/ 204 h 204"/>
                <a:gd name="T52" fmla="*/ 125 w 203"/>
                <a:gd name="T53" fmla="*/ 177 h 204"/>
                <a:gd name="T54" fmla="*/ 138 w 203"/>
                <a:gd name="T55" fmla="*/ 172 h 204"/>
                <a:gd name="T56" fmla="*/ 160 w 203"/>
                <a:gd name="T57" fmla="*/ 187 h 204"/>
                <a:gd name="T58" fmla="*/ 187 w 203"/>
                <a:gd name="T59" fmla="*/ 161 h 204"/>
                <a:gd name="T60" fmla="*/ 171 w 203"/>
                <a:gd name="T61" fmla="*/ 139 h 204"/>
                <a:gd name="T62" fmla="*/ 177 w 203"/>
                <a:gd name="T63" fmla="*/ 125 h 204"/>
                <a:gd name="T64" fmla="*/ 203 w 203"/>
                <a:gd name="T65" fmla="*/ 121 h 204"/>
                <a:gd name="T66" fmla="*/ 102 w 203"/>
                <a:gd name="T67" fmla="*/ 136 h 204"/>
                <a:gd name="T68" fmla="*/ 68 w 203"/>
                <a:gd name="T69" fmla="*/ 102 h 204"/>
                <a:gd name="T70" fmla="*/ 102 w 203"/>
                <a:gd name="T71" fmla="*/ 69 h 204"/>
                <a:gd name="T72" fmla="*/ 135 w 203"/>
                <a:gd name="T73" fmla="*/ 102 h 204"/>
                <a:gd name="T74" fmla="*/ 102 w 203"/>
                <a:gd name="T75" fmla="*/ 13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3" h="204">
                  <a:moveTo>
                    <a:pt x="203" y="121"/>
                  </a:moveTo>
                  <a:cubicBezTo>
                    <a:pt x="203" y="83"/>
                    <a:pt x="203" y="83"/>
                    <a:pt x="203" y="83"/>
                  </a:cubicBezTo>
                  <a:cubicBezTo>
                    <a:pt x="177" y="79"/>
                    <a:pt x="177" y="79"/>
                    <a:pt x="177" y="79"/>
                  </a:cubicBezTo>
                  <a:cubicBezTo>
                    <a:pt x="175" y="74"/>
                    <a:pt x="173" y="70"/>
                    <a:pt x="171" y="66"/>
                  </a:cubicBezTo>
                  <a:cubicBezTo>
                    <a:pt x="187" y="44"/>
                    <a:pt x="187" y="44"/>
                    <a:pt x="187" y="44"/>
                  </a:cubicBezTo>
                  <a:cubicBezTo>
                    <a:pt x="160" y="17"/>
                    <a:pt x="160" y="17"/>
                    <a:pt x="160" y="17"/>
                  </a:cubicBezTo>
                  <a:cubicBezTo>
                    <a:pt x="138" y="32"/>
                    <a:pt x="138" y="32"/>
                    <a:pt x="138" y="32"/>
                  </a:cubicBezTo>
                  <a:cubicBezTo>
                    <a:pt x="134" y="30"/>
                    <a:pt x="130" y="28"/>
                    <a:pt x="125" y="27"/>
                  </a:cubicBezTo>
                  <a:cubicBezTo>
                    <a:pt x="120" y="0"/>
                    <a:pt x="120" y="0"/>
                    <a:pt x="120" y="0"/>
                  </a:cubicBezTo>
                  <a:cubicBezTo>
                    <a:pt x="83" y="0"/>
                    <a:pt x="83" y="0"/>
                    <a:pt x="83" y="0"/>
                  </a:cubicBezTo>
                  <a:cubicBezTo>
                    <a:pt x="78" y="27"/>
                    <a:pt x="78" y="27"/>
                    <a:pt x="78" y="27"/>
                  </a:cubicBezTo>
                  <a:cubicBezTo>
                    <a:pt x="74" y="28"/>
                    <a:pt x="69" y="30"/>
                    <a:pt x="65" y="32"/>
                  </a:cubicBezTo>
                  <a:cubicBezTo>
                    <a:pt x="43" y="17"/>
                    <a:pt x="43" y="17"/>
                    <a:pt x="43" y="17"/>
                  </a:cubicBezTo>
                  <a:cubicBezTo>
                    <a:pt x="16" y="44"/>
                    <a:pt x="16" y="44"/>
                    <a:pt x="16" y="44"/>
                  </a:cubicBezTo>
                  <a:cubicBezTo>
                    <a:pt x="32" y="66"/>
                    <a:pt x="32" y="66"/>
                    <a:pt x="32" y="66"/>
                  </a:cubicBezTo>
                  <a:cubicBezTo>
                    <a:pt x="30" y="70"/>
                    <a:pt x="28" y="74"/>
                    <a:pt x="27" y="79"/>
                  </a:cubicBezTo>
                  <a:cubicBezTo>
                    <a:pt x="0" y="83"/>
                    <a:pt x="0" y="83"/>
                    <a:pt x="0" y="83"/>
                  </a:cubicBezTo>
                  <a:cubicBezTo>
                    <a:pt x="0" y="121"/>
                    <a:pt x="0" y="121"/>
                    <a:pt x="0" y="121"/>
                  </a:cubicBezTo>
                  <a:cubicBezTo>
                    <a:pt x="27" y="125"/>
                    <a:pt x="27" y="125"/>
                    <a:pt x="27" y="125"/>
                  </a:cubicBezTo>
                  <a:cubicBezTo>
                    <a:pt x="28" y="130"/>
                    <a:pt x="30" y="134"/>
                    <a:pt x="32" y="139"/>
                  </a:cubicBezTo>
                  <a:cubicBezTo>
                    <a:pt x="16" y="161"/>
                    <a:pt x="16" y="161"/>
                    <a:pt x="16" y="161"/>
                  </a:cubicBezTo>
                  <a:cubicBezTo>
                    <a:pt x="43" y="187"/>
                    <a:pt x="43" y="187"/>
                    <a:pt x="43" y="187"/>
                  </a:cubicBezTo>
                  <a:cubicBezTo>
                    <a:pt x="65" y="172"/>
                    <a:pt x="65" y="172"/>
                    <a:pt x="65" y="172"/>
                  </a:cubicBezTo>
                  <a:cubicBezTo>
                    <a:pt x="69" y="174"/>
                    <a:pt x="74" y="176"/>
                    <a:pt x="78" y="177"/>
                  </a:cubicBezTo>
                  <a:cubicBezTo>
                    <a:pt x="83" y="204"/>
                    <a:pt x="83" y="204"/>
                    <a:pt x="83" y="204"/>
                  </a:cubicBezTo>
                  <a:cubicBezTo>
                    <a:pt x="120" y="204"/>
                    <a:pt x="120" y="204"/>
                    <a:pt x="120" y="204"/>
                  </a:cubicBezTo>
                  <a:cubicBezTo>
                    <a:pt x="125" y="177"/>
                    <a:pt x="125" y="177"/>
                    <a:pt x="125" y="177"/>
                  </a:cubicBezTo>
                  <a:cubicBezTo>
                    <a:pt x="130" y="176"/>
                    <a:pt x="134" y="174"/>
                    <a:pt x="138" y="172"/>
                  </a:cubicBezTo>
                  <a:cubicBezTo>
                    <a:pt x="160" y="187"/>
                    <a:pt x="160" y="187"/>
                    <a:pt x="160" y="187"/>
                  </a:cubicBezTo>
                  <a:cubicBezTo>
                    <a:pt x="187" y="161"/>
                    <a:pt x="187" y="161"/>
                    <a:pt x="187" y="161"/>
                  </a:cubicBezTo>
                  <a:cubicBezTo>
                    <a:pt x="171" y="139"/>
                    <a:pt x="171" y="139"/>
                    <a:pt x="171" y="139"/>
                  </a:cubicBezTo>
                  <a:cubicBezTo>
                    <a:pt x="173" y="134"/>
                    <a:pt x="175" y="130"/>
                    <a:pt x="177" y="125"/>
                  </a:cubicBezTo>
                  <a:lnTo>
                    <a:pt x="203" y="121"/>
                  </a:lnTo>
                  <a:close/>
                  <a:moveTo>
                    <a:pt x="102" y="136"/>
                  </a:moveTo>
                  <a:cubicBezTo>
                    <a:pt x="83" y="136"/>
                    <a:pt x="68" y="121"/>
                    <a:pt x="68" y="102"/>
                  </a:cubicBezTo>
                  <a:cubicBezTo>
                    <a:pt x="68" y="84"/>
                    <a:pt x="83" y="69"/>
                    <a:pt x="102" y="69"/>
                  </a:cubicBezTo>
                  <a:cubicBezTo>
                    <a:pt x="120" y="69"/>
                    <a:pt x="135" y="84"/>
                    <a:pt x="135" y="102"/>
                  </a:cubicBezTo>
                  <a:cubicBezTo>
                    <a:pt x="135" y="121"/>
                    <a:pt x="120" y="136"/>
                    <a:pt x="102" y="13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a:ln>
                  <a:noFill/>
                </a:ln>
                <a:solidFill>
                  <a:srgbClr val="000000"/>
                </a:solidFill>
                <a:effectLst/>
                <a:uLnTx/>
                <a:uFillTx/>
                <a:latin typeface="Arial" charset="0"/>
                <a:ea typeface="+mn-ea"/>
                <a:cs typeface="+mn-cs"/>
              </a:endParaRPr>
            </a:p>
          </p:txBody>
        </p:sp>
        <p:sp>
          <p:nvSpPr>
            <p:cNvPr id="94" name="Freeform 72">
              <a:extLst>
                <a:ext uri="{FF2B5EF4-FFF2-40B4-BE49-F238E27FC236}">
                  <a16:creationId xmlns:a16="http://schemas.microsoft.com/office/drawing/2014/main" id="{FED1A3FC-5D56-245D-A1F9-40ADB3FD1144}"/>
                </a:ext>
              </a:extLst>
            </p:cNvPr>
            <p:cNvSpPr>
              <a:spLocks/>
            </p:cNvSpPr>
            <p:nvPr/>
          </p:nvSpPr>
          <p:spPr bwMode="auto">
            <a:xfrm>
              <a:off x="5673258" y="1061500"/>
              <a:ext cx="251042" cy="128616"/>
            </a:xfrm>
            <a:custGeom>
              <a:avLst/>
              <a:gdLst>
                <a:gd name="T0" fmla="*/ 17837 w 19529"/>
                <a:gd name="T1" fmla="*/ 367 h 10315"/>
                <a:gd name="T2" fmla="*/ 14525 w 19529"/>
                <a:gd name="T3" fmla="*/ 3687 h 10315"/>
                <a:gd name="T4" fmla="*/ 9377 w 19529"/>
                <a:gd name="T5" fmla="*/ 3687 h 10315"/>
                <a:gd name="T6" fmla="*/ 9190 w 19529"/>
                <a:gd name="T7" fmla="*/ 3499 h 10315"/>
                <a:gd name="T8" fmla="*/ 9190 w 19529"/>
                <a:gd name="T9" fmla="*/ 3311 h 10315"/>
                <a:gd name="T10" fmla="*/ 9377 w 19529"/>
                <a:gd name="T11" fmla="*/ 3123 h 10315"/>
                <a:gd name="T12" fmla="*/ 12406 w 19529"/>
                <a:gd name="T13" fmla="*/ 3123 h 10315"/>
                <a:gd name="T14" fmla="*/ 13344 w 19529"/>
                <a:gd name="T15" fmla="*/ 2183 h 10315"/>
                <a:gd name="T16" fmla="*/ 12406 w 19529"/>
                <a:gd name="T17" fmla="*/ 1243 h 10315"/>
                <a:gd name="T18" fmla="*/ 5021 w 19529"/>
                <a:gd name="T19" fmla="*/ 1243 h 10315"/>
                <a:gd name="T20" fmla="*/ 4358 w 19529"/>
                <a:gd name="T21" fmla="*/ 1518 h 10315"/>
                <a:gd name="T22" fmla="*/ 280 w 19529"/>
                <a:gd name="T23" fmla="*/ 5608 h 10315"/>
                <a:gd name="T24" fmla="*/ 5 w 19529"/>
                <a:gd name="T25" fmla="*/ 6291 h 10315"/>
                <a:gd name="T26" fmla="*/ 7 w 19529"/>
                <a:gd name="T27" fmla="*/ 9424 h 10315"/>
                <a:gd name="T28" fmla="*/ 279 w 19529"/>
                <a:gd name="T29" fmla="*/ 10040 h 10315"/>
                <a:gd name="T30" fmla="*/ 942 w 19529"/>
                <a:gd name="T31" fmla="*/ 10315 h 10315"/>
                <a:gd name="T32" fmla="*/ 1606 w 19529"/>
                <a:gd name="T33" fmla="*/ 10040 h 10315"/>
                <a:gd name="T34" fmla="*/ 5410 w 19529"/>
                <a:gd name="T35" fmla="*/ 6226 h 10315"/>
                <a:gd name="T36" fmla="*/ 14257 w 19529"/>
                <a:gd name="T37" fmla="*/ 6226 h 10315"/>
                <a:gd name="T38" fmla="*/ 14920 w 19529"/>
                <a:gd name="T39" fmla="*/ 5951 h 10315"/>
                <a:gd name="T40" fmla="*/ 19163 w 19529"/>
                <a:gd name="T41" fmla="*/ 1697 h 10315"/>
                <a:gd name="T42" fmla="*/ 19163 w 19529"/>
                <a:gd name="T43" fmla="*/ 367 h 10315"/>
                <a:gd name="T44" fmla="*/ 17837 w 19529"/>
                <a:gd name="T45" fmla="*/ 367 h 10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529" h="10315">
                  <a:moveTo>
                    <a:pt x="17837" y="367"/>
                  </a:moveTo>
                  <a:lnTo>
                    <a:pt x="14525" y="3687"/>
                  </a:lnTo>
                  <a:lnTo>
                    <a:pt x="9377" y="3687"/>
                  </a:lnTo>
                  <a:cubicBezTo>
                    <a:pt x="9274" y="3687"/>
                    <a:pt x="9190" y="3603"/>
                    <a:pt x="9190" y="3499"/>
                  </a:cubicBezTo>
                  <a:lnTo>
                    <a:pt x="9190" y="3311"/>
                  </a:lnTo>
                  <a:cubicBezTo>
                    <a:pt x="9190" y="3207"/>
                    <a:pt x="9274" y="3123"/>
                    <a:pt x="9377" y="3123"/>
                  </a:cubicBezTo>
                  <a:lnTo>
                    <a:pt x="12406" y="3123"/>
                  </a:lnTo>
                  <a:cubicBezTo>
                    <a:pt x="12924" y="3123"/>
                    <a:pt x="13344" y="2702"/>
                    <a:pt x="13344" y="2183"/>
                  </a:cubicBezTo>
                  <a:cubicBezTo>
                    <a:pt x="13344" y="1664"/>
                    <a:pt x="12924" y="1243"/>
                    <a:pt x="12406" y="1243"/>
                  </a:cubicBezTo>
                  <a:lnTo>
                    <a:pt x="5021" y="1243"/>
                  </a:lnTo>
                  <a:cubicBezTo>
                    <a:pt x="4773" y="1243"/>
                    <a:pt x="4534" y="1342"/>
                    <a:pt x="4358" y="1518"/>
                  </a:cubicBezTo>
                  <a:lnTo>
                    <a:pt x="280" y="5608"/>
                  </a:lnTo>
                  <a:cubicBezTo>
                    <a:pt x="92" y="5796"/>
                    <a:pt x="0" y="6045"/>
                    <a:pt x="5" y="6291"/>
                  </a:cubicBezTo>
                  <a:cubicBezTo>
                    <a:pt x="9" y="6463"/>
                    <a:pt x="1" y="9296"/>
                    <a:pt x="7" y="9424"/>
                  </a:cubicBezTo>
                  <a:cubicBezTo>
                    <a:pt x="18" y="9648"/>
                    <a:pt x="109" y="9869"/>
                    <a:pt x="279" y="10040"/>
                  </a:cubicBezTo>
                  <a:cubicBezTo>
                    <a:pt x="462" y="10223"/>
                    <a:pt x="702" y="10315"/>
                    <a:pt x="942" y="10315"/>
                  </a:cubicBezTo>
                  <a:cubicBezTo>
                    <a:pt x="1182" y="10315"/>
                    <a:pt x="1422" y="10223"/>
                    <a:pt x="1606" y="10040"/>
                  </a:cubicBezTo>
                  <a:lnTo>
                    <a:pt x="5410" y="6226"/>
                  </a:lnTo>
                  <a:lnTo>
                    <a:pt x="14257" y="6226"/>
                  </a:lnTo>
                  <a:cubicBezTo>
                    <a:pt x="14506" y="6226"/>
                    <a:pt x="14744" y="6127"/>
                    <a:pt x="14920" y="5951"/>
                  </a:cubicBezTo>
                  <a:lnTo>
                    <a:pt x="19163" y="1697"/>
                  </a:lnTo>
                  <a:cubicBezTo>
                    <a:pt x="19529" y="1329"/>
                    <a:pt x="19529" y="734"/>
                    <a:pt x="19163" y="367"/>
                  </a:cubicBezTo>
                  <a:cubicBezTo>
                    <a:pt x="18797" y="0"/>
                    <a:pt x="18203" y="0"/>
                    <a:pt x="17837" y="367"/>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charset="0"/>
                <a:ea typeface="+mn-ea"/>
                <a:cs typeface="+mn-cs"/>
              </a:endParaRPr>
            </a:p>
          </p:txBody>
        </p:sp>
      </p:grpSp>
      <p:sp>
        <p:nvSpPr>
          <p:cNvPr id="72" name="Title 1">
            <a:extLst>
              <a:ext uri="{FF2B5EF4-FFF2-40B4-BE49-F238E27FC236}">
                <a16:creationId xmlns:a16="http://schemas.microsoft.com/office/drawing/2014/main" id="{DE1D4E20-427C-EC65-717E-779C906EBB8A}"/>
              </a:ext>
            </a:extLst>
          </p:cNvPr>
          <p:cNvSpPr>
            <a:spLocks noGrp="1"/>
          </p:cNvSpPr>
          <p:nvPr>
            <p:ph type="title"/>
          </p:nvPr>
        </p:nvSpPr>
        <p:spPr bwMode="gray">
          <a:xfrm>
            <a:off x="0" y="0"/>
            <a:ext cx="12191979" cy="1292630"/>
          </a:xfrm>
          <a:prstGeom prst="rect">
            <a:avLst/>
          </a:prstGeom>
          <a:solidFill>
            <a:srgbClr val="002576"/>
          </a:solidFill>
          <a:ln>
            <a:noFill/>
          </a:ln>
          <a:effectLst/>
        </p:spPr>
        <p:txBody>
          <a:bodyPr vert="horz" wrap="square" lIns="91440" tIns="45720" rIns="91440" bIns="45720" numCol="1" rtlCol="0" anchor="ctr" anchorCtr="0" compatLnSpc="1">
            <a:prstTxWarp prst="textNoShape">
              <a:avLst/>
            </a:prstTxWarp>
            <a:noAutofit/>
          </a:bodyPr>
          <a:lstStyle/>
          <a:p>
            <a:pPr algn="ctr" defTabSz="457200">
              <a:spcAft>
                <a:spcPts val="0"/>
              </a:spcAft>
              <a:tabLst/>
            </a:pPr>
            <a:r>
              <a:rPr lang="en-US" sz="2800" dirty="0">
                <a:solidFill>
                  <a:schemeClr val="bg1"/>
                </a:solidFill>
                <a:latin typeface="Arial Black"/>
              </a:rPr>
              <a:t>MEDC Application Process</a:t>
            </a:r>
            <a:endParaRPr lang="en-US" sz="2800" dirty="0">
              <a:solidFill>
                <a:schemeClr val="bg1"/>
              </a:solidFill>
            </a:endParaRPr>
          </a:p>
        </p:txBody>
      </p:sp>
      <p:sp>
        <p:nvSpPr>
          <p:cNvPr id="4" name="Rectangle 3" hidden="1">
            <a:extLst>
              <a:ext uri="{FF2B5EF4-FFF2-40B4-BE49-F238E27FC236}">
                <a16:creationId xmlns:a16="http://schemas.microsoft.com/office/drawing/2014/main" id="{81C4B2F4-2898-1A7F-4C1A-8A7F6C8B47C6}"/>
              </a:ext>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9" name="Rectangle 8">
            <a:extLst>
              <a:ext uri="{FF2B5EF4-FFF2-40B4-BE49-F238E27FC236}">
                <a16:creationId xmlns:a16="http://schemas.microsoft.com/office/drawing/2014/main" id="{F9A46900-20F3-B623-FF11-0F28E73A52F2}"/>
              </a:ext>
            </a:extLst>
          </p:cNvPr>
          <p:cNvSpPr/>
          <p:nvPr/>
        </p:nvSpPr>
        <p:spPr>
          <a:xfrm>
            <a:off x="10883" y="1291012"/>
            <a:ext cx="12192000" cy="87733"/>
          </a:xfrm>
          <a:prstGeom prst="rect">
            <a:avLst/>
          </a:prstGeom>
          <a:solidFill>
            <a:srgbClr val="9CCF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extBox 1">
            <a:extLst>
              <a:ext uri="{FF2B5EF4-FFF2-40B4-BE49-F238E27FC236}">
                <a16:creationId xmlns:a16="http://schemas.microsoft.com/office/drawing/2014/main" id="{0F84D17C-1AC6-46D2-7505-9957E57873B8}"/>
              </a:ext>
            </a:extLst>
          </p:cNvPr>
          <p:cNvSpPr txBox="1"/>
          <p:nvPr/>
        </p:nvSpPr>
        <p:spPr>
          <a:xfrm>
            <a:off x="4426150" y="1437004"/>
            <a:ext cx="7776733" cy="5262979"/>
          </a:xfrm>
          <a:prstGeom prst="rect">
            <a:avLst/>
          </a:prstGeom>
          <a:noFill/>
        </p:spPr>
        <p:txBody>
          <a:bodyPr wrap="square" rtlCol="0">
            <a:spAutoFit/>
          </a:bodyPr>
          <a:lstStyle/>
          <a:p>
            <a:r>
              <a:rPr lang="en-US" sz="2800" dirty="0"/>
              <a:t>       </a:t>
            </a:r>
          </a:p>
          <a:p>
            <a:pPr marL="914400" lvl="1" indent="-457200">
              <a:buFont typeface="Arial" panose="020B0604020202020204" pitchFamily="34" charset="0"/>
              <a:buChar char="•"/>
            </a:pPr>
            <a:r>
              <a:rPr lang="en-US" sz="2800" b="1" dirty="0"/>
              <a:t>Step 1: </a:t>
            </a:r>
            <a:r>
              <a:rPr lang="en-US" sz="2800" dirty="0"/>
              <a:t>Connect with your community development manager</a:t>
            </a:r>
          </a:p>
          <a:p>
            <a:pPr marL="914400" lvl="1" indent="-457200">
              <a:buFont typeface="Arial" panose="020B0604020202020204" pitchFamily="34" charset="0"/>
              <a:buChar char="•"/>
            </a:pPr>
            <a:endParaRPr lang="en-US" sz="2800" b="1" dirty="0"/>
          </a:p>
          <a:p>
            <a:pPr marL="914400" lvl="1" indent="-457200">
              <a:buFont typeface="Arial" panose="020B0604020202020204" pitchFamily="34" charset="0"/>
              <a:buChar char="•"/>
            </a:pPr>
            <a:r>
              <a:rPr lang="en-US" sz="2800" b="1" dirty="0"/>
              <a:t>Step 2: </a:t>
            </a:r>
            <a:r>
              <a:rPr lang="en-US" sz="2800" dirty="0"/>
              <a:t>Submit the preapplication packet</a:t>
            </a:r>
          </a:p>
          <a:p>
            <a:pPr marL="914400" lvl="1" indent="-457200">
              <a:buFont typeface="Arial" panose="020B0604020202020204" pitchFamily="34" charset="0"/>
              <a:buChar char="•"/>
            </a:pPr>
            <a:endParaRPr lang="en-US" sz="2800" b="1" dirty="0"/>
          </a:p>
          <a:p>
            <a:pPr marL="914400" lvl="1" indent="-457200">
              <a:buFont typeface="Arial" panose="020B0604020202020204" pitchFamily="34" charset="0"/>
              <a:buChar char="•"/>
            </a:pPr>
            <a:r>
              <a:rPr lang="en-US" sz="2800" b="1" dirty="0"/>
              <a:t>Step 3: </a:t>
            </a:r>
            <a:r>
              <a:rPr lang="en-US" sz="2800" dirty="0"/>
              <a:t>Receive an LOI from the MEDC</a:t>
            </a:r>
          </a:p>
          <a:p>
            <a:pPr marL="914400" lvl="1" indent="-457200">
              <a:buFont typeface="Arial" panose="020B0604020202020204" pitchFamily="34" charset="0"/>
              <a:buChar char="•"/>
            </a:pPr>
            <a:endParaRPr lang="en-US" sz="2800" b="1" dirty="0"/>
          </a:p>
          <a:p>
            <a:pPr marL="914400" lvl="1" indent="-457200">
              <a:buFont typeface="Arial" panose="020B0604020202020204" pitchFamily="34" charset="0"/>
              <a:buChar char="•"/>
            </a:pPr>
            <a:r>
              <a:rPr lang="en-US" sz="2800" b="1" dirty="0"/>
              <a:t>Step 4: </a:t>
            </a:r>
            <a:r>
              <a:rPr lang="en-US" sz="2800" dirty="0"/>
              <a:t>Submit a full application packet </a:t>
            </a:r>
          </a:p>
          <a:p>
            <a:pPr marL="914400" lvl="1" indent="-457200">
              <a:buFont typeface="Arial" panose="020B0604020202020204" pitchFamily="34" charset="0"/>
              <a:buChar char="•"/>
            </a:pPr>
            <a:endParaRPr lang="en-US" sz="2800" b="1" dirty="0"/>
          </a:p>
          <a:p>
            <a:pPr marL="914400" lvl="1" indent="-457200">
              <a:buFont typeface="Arial" panose="020B0604020202020204" pitchFamily="34" charset="0"/>
              <a:buChar char="•"/>
            </a:pPr>
            <a:r>
              <a:rPr lang="en-US" sz="2800" b="1" dirty="0"/>
              <a:t>Step 5: </a:t>
            </a:r>
            <a:r>
              <a:rPr lang="en-US" sz="2800" dirty="0"/>
              <a:t>Receive final funding approval</a:t>
            </a:r>
          </a:p>
          <a:p>
            <a:pPr marL="457200" indent="-457200">
              <a:buFont typeface="Arial" panose="020B0604020202020204" pitchFamily="34" charset="0"/>
              <a:buChar char="•"/>
            </a:pPr>
            <a:endParaRPr lang="en-US" sz="2800" dirty="0"/>
          </a:p>
        </p:txBody>
      </p:sp>
      <p:pic>
        <p:nvPicPr>
          <p:cNvPr id="5" name="Content Placeholder 10">
            <a:extLst>
              <a:ext uri="{FF2B5EF4-FFF2-40B4-BE49-F238E27FC236}">
                <a16:creationId xmlns:a16="http://schemas.microsoft.com/office/drawing/2014/main" id="{687E9D60-9617-83A8-6AD3-EE573BC23101}"/>
              </a:ext>
            </a:extLst>
          </p:cNvPr>
          <p:cNvPicPr>
            <a:picLocks noChangeAspect="1"/>
          </p:cNvPicPr>
          <p:nvPr/>
        </p:nvPicPr>
        <p:blipFill>
          <a:blip r:embed="rId7"/>
          <a:stretch>
            <a:fillRect/>
          </a:stretch>
        </p:blipFill>
        <p:spPr>
          <a:xfrm>
            <a:off x="-1127316" y="1872115"/>
            <a:ext cx="5853911" cy="4502560"/>
          </a:xfrm>
          <a:prstGeom prst="rect">
            <a:avLst/>
          </a:prstGeom>
        </p:spPr>
      </p:pic>
    </p:spTree>
    <p:extLst>
      <p:ext uri="{BB962C8B-B14F-4D97-AF65-F5344CB8AC3E}">
        <p14:creationId xmlns:p14="http://schemas.microsoft.com/office/powerpoint/2010/main" val="303160284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89A3755-D647-48B9-B4F0-55442143BC2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589A3755-D647-48B9-B4F0-55442143BC2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CBF77364-3B90-F347-A220-91C704A43775}"/>
              </a:ext>
            </a:extLst>
          </p:cNvPr>
          <p:cNvGrpSpPr/>
          <p:nvPr/>
        </p:nvGrpSpPr>
        <p:grpSpPr>
          <a:xfrm>
            <a:off x="11660635" y="1104552"/>
            <a:ext cx="144734" cy="128417"/>
            <a:chOff x="11633817" y="1102402"/>
            <a:chExt cx="231147" cy="205087"/>
          </a:xfrm>
        </p:grpSpPr>
        <p:sp>
          <p:nvSpPr>
            <p:cNvPr id="151" name="Freeform 19">
              <a:extLst>
                <a:ext uri="{FF2B5EF4-FFF2-40B4-BE49-F238E27FC236}">
                  <a16:creationId xmlns:a16="http://schemas.microsoft.com/office/drawing/2014/main" id="{5D4E93E4-60DA-4426-B648-0D0F919CB355}"/>
                </a:ext>
              </a:extLst>
            </p:cNvPr>
            <p:cNvSpPr>
              <a:spLocks/>
            </p:cNvSpPr>
            <p:nvPr/>
          </p:nvSpPr>
          <p:spPr bwMode="auto">
            <a:xfrm>
              <a:off x="11676657" y="1169876"/>
              <a:ext cx="83691" cy="29778"/>
            </a:xfrm>
            <a:custGeom>
              <a:avLst/>
              <a:gdLst>
                <a:gd name="T0" fmla="*/ 107 w 206"/>
                <a:gd name="T1" fmla="*/ 77 h 77"/>
                <a:gd name="T2" fmla="*/ 107 w 206"/>
                <a:gd name="T3" fmla="*/ 77 h 77"/>
                <a:gd name="T4" fmla="*/ 106 w 206"/>
                <a:gd name="T5" fmla="*/ 77 h 77"/>
                <a:gd name="T6" fmla="*/ 5 w 206"/>
                <a:gd name="T7" fmla="*/ 26 h 77"/>
                <a:gd name="T8" fmla="*/ 8 w 206"/>
                <a:gd name="T9" fmla="*/ 5 h 77"/>
                <a:gd name="T10" fmla="*/ 29 w 206"/>
                <a:gd name="T11" fmla="*/ 8 h 77"/>
                <a:gd name="T12" fmla="*/ 107 w 206"/>
                <a:gd name="T13" fmla="*/ 46 h 77"/>
                <a:gd name="T14" fmla="*/ 177 w 206"/>
                <a:gd name="T15" fmla="*/ 7 h 77"/>
                <a:gd name="T16" fmla="*/ 199 w 206"/>
                <a:gd name="T17" fmla="*/ 5 h 77"/>
                <a:gd name="T18" fmla="*/ 201 w 206"/>
                <a:gd name="T19" fmla="*/ 26 h 77"/>
                <a:gd name="T20" fmla="*/ 107 w 206"/>
                <a:gd name="T21"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6" h="77">
                  <a:moveTo>
                    <a:pt x="107" y="77"/>
                  </a:moveTo>
                  <a:cubicBezTo>
                    <a:pt x="107" y="77"/>
                    <a:pt x="107" y="77"/>
                    <a:pt x="107" y="77"/>
                  </a:cubicBezTo>
                  <a:cubicBezTo>
                    <a:pt x="106" y="77"/>
                    <a:pt x="106" y="77"/>
                    <a:pt x="106" y="77"/>
                  </a:cubicBezTo>
                  <a:cubicBezTo>
                    <a:pt x="52" y="74"/>
                    <a:pt x="13" y="36"/>
                    <a:pt x="5" y="26"/>
                  </a:cubicBezTo>
                  <a:cubicBezTo>
                    <a:pt x="0" y="19"/>
                    <a:pt x="1" y="10"/>
                    <a:pt x="8" y="5"/>
                  </a:cubicBezTo>
                  <a:cubicBezTo>
                    <a:pt x="15" y="0"/>
                    <a:pt x="24" y="1"/>
                    <a:pt x="29" y="8"/>
                  </a:cubicBezTo>
                  <a:cubicBezTo>
                    <a:pt x="34" y="14"/>
                    <a:pt x="66" y="44"/>
                    <a:pt x="107" y="46"/>
                  </a:cubicBezTo>
                  <a:cubicBezTo>
                    <a:pt x="145" y="46"/>
                    <a:pt x="177" y="8"/>
                    <a:pt x="177" y="7"/>
                  </a:cubicBezTo>
                  <a:cubicBezTo>
                    <a:pt x="182" y="1"/>
                    <a:pt x="192" y="0"/>
                    <a:pt x="199" y="5"/>
                  </a:cubicBezTo>
                  <a:cubicBezTo>
                    <a:pt x="205" y="10"/>
                    <a:pt x="206" y="20"/>
                    <a:pt x="201" y="26"/>
                  </a:cubicBezTo>
                  <a:cubicBezTo>
                    <a:pt x="199" y="28"/>
                    <a:pt x="160" y="77"/>
                    <a:pt x="107" y="7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a:ln>
                  <a:noFill/>
                </a:ln>
                <a:solidFill>
                  <a:srgbClr val="000000"/>
                </a:solidFill>
                <a:effectLst/>
                <a:uLnTx/>
                <a:uFillTx/>
                <a:latin typeface="Arial" charset="0"/>
                <a:ea typeface="+mn-ea"/>
                <a:cs typeface="+mn-cs"/>
              </a:endParaRPr>
            </a:p>
          </p:txBody>
        </p:sp>
        <p:sp>
          <p:nvSpPr>
            <p:cNvPr id="152" name="Freeform 20">
              <a:extLst>
                <a:ext uri="{FF2B5EF4-FFF2-40B4-BE49-F238E27FC236}">
                  <a16:creationId xmlns:a16="http://schemas.microsoft.com/office/drawing/2014/main" id="{5839E3E0-464D-41B5-94F2-E8350C88B364}"/>
                </a:ext>
              </a:extLst>
            </p:cNvPr>
            <p:cNvSpPr>
              <a:spLocks noEditPoints="1"/>
            </p:cNvSpPr>
            <p:nvPr/>
          </p:nvSpPr>
          <p:spPr bwMode="auto">
            <a:xfrm>
              <a:off x="11633817" y="1102402"/>
              <a:ext cx="231147" cy="205087"/>
            </a:xfrm>
            <a:custGeom>
              <a:avLst/>
              <a:gdLst>
                <a:gd name="T0" fmla="*/ 550 w 570"/>
                <a:gd name="T1" fmla="*/ 406 h 524"/>
                <a:gd name="T2" fmla="*/ 397 w 570"/>
                <a:gd name="T3" fmla="*/ 305 h 524"/>
                <a:gd name="T4" fmla="*/ 395 w 570"/>
                <a:gd name="T5" fmla="*/ 304 h 524"/>
                <a:gd name="T6" fmla="*/ 418 w 570"/>
                <a:gd name="T7" fmla="*/ 209 h 524"/>
                <a:gd name="T8" fmla="*/ 209 w 570"/>
                <a:gd name="T9" fmla="*/ 0 h 524"/>
                <a:gd name="T10" fmla="*/ 0 w 570"/>
                <a:gd name="T11" fmla="*/ 209 h 524"/>
                <a:gd name="T12" fmla="*/ 209 w 570"/>
                <a:gd name="T13" fmla="*/ 418 h 524"/>
                <a:gd name="T14" fmla="*/ 336 w 570"/>
                <a:gd name="T15" fmla="*/ 375 h 524"/>
                <a:gd name="T16" fmla="*/ 337 w 570"/>
                <a:gd name="T17" fmla="*/ 376 h 524"/>
                <a:gd name="T18" fmla="*/ 464 w 570"/>
                <a:gd name="T19" fmla="*/ 510 h 524"/>
                <a:gd name="T20" fmla="*/ 520 w 570"/>
                <a:gd name="T21" fmla="*/ 505 h 524"/>
                <a:gd name="T22" fmla="*/ 556 w 570"/>
                <a:gd name="T23" fmla="*/ 462 h 524"/>
                <a:gd name="T24" fmla="*/ 550 w 570"/>
                <a:gd name="T25" fmla="*/ 406 h 524"/>
                <a:gd name="T26" fmla="*/ 209 w 570"/>
                <a:gd name="T27" fmla="*/ 364 h 524"/>
                <a:gd name="T28" fmla="*/ 54 w 570"/>
                <a:gd name="T29" fmla="*/ 209 h 524"/>
                <a:gd name="T30" fmla="*/ 209 w 570"/>
                <a:gd name="T31" fmla="*/ 54 h 524"/>
                <a:gd name="T32" fmla="*/ 364 w 570"/>
                <a:gd name="T33" fmla="*/ 209 h 524"/>
                <a:gd name="T34" fmla="*/ 209 w 570"/>
                <a:gd name="T35" fmla="*/ 36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0" h="524">
                  <a:moveTo>
                    <a:pt x="550" y="406"/>
                  </a:moveTo>
                  <a:cubicBezTo>
                    <a:pt x="397" y="305"/>
                    <a:pt x="397" y="305"/>
                    <a:pt x="397" y="305"/>
                  </a:cubicBezTo>
                  <a:cubicBezTo>
                    <a:pt x="396" y="305"/>
                    <a:pt x="396" y="304"/>
                    <a:pt x="395" y="304"/>
                  </a:cubicBezTo>
                  <a:cubicBezTo>
                    <a:pt x="410" y="276"/>
                    <a:pt x="418" y="243"/>
                    <a:pt x="418" y="209"/>
                  </a:cubicBezTo>
                  <a:cubicBezTo>
                    <a:pt x="418" y="94"/>
                    <a:pt x="324" y="0"/>
                    <a:pt x="209" y="0"/>
                  </a:cubicBezTo>
                  <a:cubicBezTo>
                    <a:pt x="94" y="0"/>
                    <a:pt x="0" y="94"/>
                    <a:pt x="0" y="209"/>
                  </a:cubicBezTo>
                  <a:cubicBezTo>
                    <a:pt x="0" y="324"/>
                    <a:pt x="94" y="418"/>
                    <a:pt x="209" y="418"/>
                  </a:cubicBezTo>
                  <a:cubicBezTo>
                    <a:pt x="257" y="418"/>
                    <a:pt x="301" y="402"/>
                    <a:pt x="336" y="375"/>
                  </a:cubicBezTo>
                  <a:cubicBezTo>
                    <a:pt x="336" y="375"/>
                    <a:pt x="337" y="376"/>
                    <a:pt x="337" y="376"/>
                  </a:cubicBezTo>
                  <a:cubicBezTo>
                    <a:pt x="464" y="510"/>
                    <a:pt x="464" y="510"/>
                    <a:pt x="464" y="510"/>
                  </a:cubicBezTo>
                  <a:cubicBezTo>
                    <a:pt x="481" y="524"/>
                    <a:pt x="506" y="522"/>
                    <a:pt x="520" y="505"/>
                  </a:cubicBezTo>
                  <a:cubicBezTo>
                    <a:pt x="556" y="462"/>
                    <a:pt x="556" y="462"/>
                    <a:pt x="556" y="462"/>
                  </a:cubicBezTo>
                  <a:cubicBezTo>
                    <a:pt x="570" y="445"/>
                    <a:pt x="567" y="420"/>
                    <a:pt x="550" y="406"/>
                  </a:cubicBezTo>
                  <a:close/>
                  <a:moveTo>
                    <a:pt x="209" y="364"/>
                  </a:moveTo>
                  <a:cubicBezTo>
                    <a:pt x="123" y="364"/>
                    <a:pt x="54" y="295"/>
                    <a:pt x="54" y="209"/>
                  </a:cubicBezTo>
                  <a:cubicBezTo>
                    <a:pt x="54" y="124"/>
                    <a:pt x="123" y="54"/>
                    <a:pt x="209" y="54"/>
                  </a:cubicBezTo>
                  <a:cubicBezTo>
                    <a:pt x="295" y="54"/>
                    <a:pt x="364" y="124"/>
                    <a:pt x="364" y="209"/>
                  </a:cubicBezTo>
                  <a:cubicBezTo>
                    <a:pt x="364" y="295"/>
                    <a:pt x="295" y="364"/>
                    <a:pt x="209" y="36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a:ln>
                  <a:noFill/>
                </a:ln>
                <a:solidFill>
                  <a:srgbClr val="000000"/>
                </a:solidFill>
                <a:effectLst/>
                <a:uLnTx/>
                <a:uFillTx/>
                <a:latin typeface="Arial" charset="0"/>
                <a:ea typeface="+mn-ea"/>
                <a:cs typeface="+mn-cs"/>
              </a:endParaRPr>
            </a:p>
          </p:txBody>
        </p:sp>
      </p:grpSp>
      <p:grpSp>
        <p:nvGrpSpPr>
          <p:cNvPr id="226" name="Group 225">
            <a:extLst>
              <a:ext uri="{FF2B5EF4-FFF2-40B4-BE49-F238E27FC236}">
                <a16:creationId xmlns:a16="http://schemas.microsoft.com/office/drawing/2014/main" id="{FC6C2188-3CDB-431F-AE8A-5FC21FD4DC72}"/>
              </a:ext>
            </a:extLst>
          </p:cNvPr>
          <p:cNvGrpSpPr/>
          <p:nvPr/>
        </p:nvGrpSpPr>
        <p:grpSpPr>
          <a:xfrm>
            <a:off x="5713706" y="1094902"/>
            <a:ext cx="170146" cy="178230"/>
            <a:chOff x="5673258" y="927146"/>
            <a:chExt cx="251042" cy="262970"/>
          </a:xfrm>
        </p:grpSpPr>
        <p:sp>
          <p:nvSpPr>
            <p:cNvPr id="200" name="Freeform 14">
              <a:extLst>
                <a:ext uri="{FF2B5EF4-FFF2-40B4-BE49-F238E27FC236}">
                  <a16:creationId xmlns:a16="http://schemas.microsoft.com/office/drawing/2014/main" id="{0948C460-CB81-4CBC-AD2A-E0D3E6A76B02}"/>
                </a:ext>
              </a:extLst>
            </p:cNvPr>
            <p:cNvSpPr>
              <a:spLocks noEditPoints="1"/>
            </p:cNvSpPr>
            <p:nvPr/>
          </p:nvSpPr>
          <p:spPr bwMode="auto">
            <a:xfrm>
              <a:off x="5785978" y="927146"/>
              <a:ext cx="128800" cy="125036"/>
            </a:xfrm>
            <a:custGeom>
              <a:avLst/>
              <a:gdLst>
                <a:gd name="T0" fmla="*/ 203 w 203"/>
                <a:gd name="T1" fmla="*/ 121 h 204"/>
                <a:gd name="T2" fmla="*/ 203 w 203"/>
                <a:gd name="T3" fmla="*/ 83 h 204"/>
                <a:gd name="T4" fmla="*/ 177 w 203"/>
                <a:gd name="T5" fmla="*/ 79 h 204"/>
                <a:gd name="T6" fmla="*/ 171 w 203"/>
                <a:gd name="T7" fmla="*/ 66 h 204"/>
                <a:gd name="T8" fmla="*/ 187 w 203"/>
                <a:gd name="T9" fmla="*/ 44 h 204"/>
                <a:gd name="T10" fmla="*/ 160 w 203"/>
                <a:gd name="T11" fmla="*/ 17 h 204"/>
                <a:gd name="T12" fmla="*/ 138 w 203"/>
                <a:gd name="T13" fmla="*/ 32 h 204"/>
                <a:gd name="T14" fmla="*/ 125 w 203"/>
                <a:gd name="T15" fmla="*/ 27 h 204"/>
                <a:gd name="T16" fmla="*/ 120 w 203"/>
                <a:gd name="T17" fmla="*/ 0 h 204"/>
                <a:gd name="T18" fmla="*/ 83 w 203"/>
                <a:gd name="T19" fmla="*/ 0 h 204"/>
                <a:gd name="T20" fmla="*/ 78 w 203"/>
                <a:gd name="T21" fmla="*/ 27 h 204"/>
                <a:gd name="T22" fmla="*/ 65 w 203"/>
                <a:gd name="T23" fmla="*/ 32 h 204"/>
                <a:gd name="T24" fmla="*/ 43 w 203"/>
                <a:gd name="T25" fmla="*/ 17 h 204"/>
                <a:gd name="T26" fmla="*/ 16 w 203"/>
                <a:gd name="T27" fmla="*/ 44 h 204"/>
                <a:gd name="T28" fmla="*/ 32 w 203"/>
                <a:gd name="T29" fmla="*/ 66 h 204"/>
                <a:gd name="T30" fmla="*/ 27 w 203"/>
                <a:gd name="T31" fmla="*/ 79 h 204"/>
                <a:gd name="T32" fmla="*/ 0 w 203"/>
                <a:gd name="T33" fmla="*/ 83 h 204"/>
                <a:gd name="T34" fmla="*/ 0 w 203"/>
                <a:gd name="T35" fmla="*/ 121 h 204"/>
                <a:gd name="T36" fmla="*/ 27 w 203"/>
                <a:gd name="T37" fmla="*/ 125 h 204"/>
                <a:gd name="T38" fmla="*/ 32 w 203"/>
                <a:gd name="T39" fmla="*/ 139 h 204"/>
                <a:gd name="T40" fmla="*/ 16 w 203"/>
                <a:gd name="T41" fmla="*/ 161 h 204"/>
                <a:gd name="T42" fmla="*/ 43 w 203"/>
                <a:gd name="T43" fmla="*/ 187 h 204"/>
                <a:gd name="T44" fmla="*/ 65 w 203"/>
                <a:gd name="T45" fmla="*/ 172 h 204"/>
                <a:gd name="T46" fmla="*/ 78 w 203"/>
                <a:gd name="T47" fmla="*/ 177 h 204"/>
                <a:gd name="T48" fmla="*/ 83 w 203"/>
                <a:gd name="T49" fmla="*/ 204 h 204"/>
                <a:gd name="T50" fmla="*/ 120 w 203"/>
                <a:gd name="T51" fmla="*/ 204 h 204"/>
                <a:gd name="T52" fmla="*/ 125 w 203"/>
                <a:gd name="T53" fmla="*/ 177 h 204"/>
                <a:gd name="T54" fmla="*/ 138 w 203"/>
                <a:gd name="T55" fmla="*/ 172 h 204"/>
                <a:gd name="T56" fmla="*/ 160 w 203"/>
                <a:gd name="T57" fmla="*/ 187 h 204"/>
                <a:gd name="T58" fmla="*/ 187 w 203"/>
                <a:gd name="T59" fmla="*/ 161 h 204"/>
                <a:gd name="T60" fmla="*/ 171 w 203"/>
                <a:gd name="T61" fmla="*/ 139 h 204"/>
                <a:gd name="T62" fmla="*/ 177 w 203"/>
                <a:gd name="T63" fmla="*/ 125 h 204"/>
                <a:gd name="T64" fmla="*/ 203 w 203"/>
                <a:gd name="T65" fmla="*/ 121 h 204"/>
                <a:gd name="T66" fmla="*/ 102 w 203"/>
                <a:gd name="T67" fmla="*/ 136 h 204"/>
                <a:gd name="T68" fmla="*/ 68 w 203"/>
                <a:gd name="T69" fmla="*/ 102 h 204"/>
                <a:gd name="T70" fmla="*/ 102 w 203"/>
                <a:gd name="T71" fmla="*/ 69 h 204"/>
                <a:gd name="T72" fmla="*/ 135 w 203"/>
                <a:gd name="T73" fmla="*/ 102 h 204"/>
                <a:gd name="T74" fmla="*/ 102 w 203"/>
                <a:gd name="T75" fmla="*/ 13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3" h="204">
                  <a:moveTo>
                    <a:pt x="203" y="121"/>
                  </a:moveTo>
                  <a:cubicBezTo>
                    <a:pt x="203" y="83"/>
                    <a:pt x="203" y="83"/>
                    <a:pt x="203" y="83"/>
                  </a:cubicBezTo>
                  <a:cubicBezTo>
                    <a:pt x="177" y="79"/>
                    <a:pt x="177" y="79"/>
                    <a:pt x="177" y="79"/>
                  </a:cubicBezTo>
                  <a:cubicBezTo>
                    <a:pt x="175" y="74"/>
                    <a:pt x="173" y="70"/>
                    <a:pt x="171" y="66"/>
                  </a:cubicBezTo>
                  <a:cubicBezTo>
                    <a:pt x="187" y="44"/>
                    <a:pt x="187" y="44"/>
                    <a:pt x="187" y="44"/>
                  </a:cubicBezTo>
                  <a:cubicBezTo>
                    <a:pt x="160" y="17"/>
                    <a:pt x="160" y="17"/>
                    <a:pt x="160" y="17"/>
                  </a:cubicBezTo>
                  <a:cubicBezTo>
                    <a:pt x="138" y="32"/>
                    <a:pt x="138" y="32"/>
                    <a:pt x="138" y="32"/>
                  </a:cubicBezTo>
                  <a:cubicBezTo>
                    <a:pt x="134" y="30"/>
                    <a:pt x="130" y="28"/>
                    <a:pt x="125" y="27"/>
                  </a:cubicBezTo>
                  <a:cubicBezTo>
                    <a:pt x="120" y="0"/>
                    <a:pt x="120" y="0"/>
                    <a:pt x="120" y="0"/>
                  </a:cubicBezTo>
                  <a:cubicBezTo>
                    <a:pt x="83" y="0"/>
                    <a:pt x="83" y="0"/>
                    <a:pt x="83" y="0"/>
                  </a:cubicBezTo>
                  <a:cubicBezTo>
                    <a:pt x="78" y="27"/>
                    <a:pt x="78" y="27"/>
                    <a:pt x="78" y="27"/>
                  </a:cubicBezTo>
                  <a:cubicBezTo>
                    <a:pt x="74" y="28"/>
                    <a:pt x="69" y="30"/>
                    <a:pt x="65" y="32"/>
                  </a:cubicBezTo>
                  <a:cubicBezTo>
                    <a:pt x="43" y="17"/>
                    <a:pt x="43" y="17"/>
                    <a:pt x="43" y="17"/>
                  </a:cubicBezTo>
                  <a:cubicBezTo>
                    <a:pt x="16" y="44"/>
                    <a:pt x="16" y="44"/>
                    <a:pt x="16" y="44"/>
                  </a:cubicBezTo>
                  <a:cubicBezTo>
                    <a:pt x="32" y="66"/>
                    <a:pt x="32" y="66"/>
                    <a:pt x="32" y="66"/>
                  </a:cubicBezTo>
                  <a:cubicBezTo>
                    <a:pt x="30" y="70"/>
                    <a:pt x="28" y="74"/>
                    <a:pt x="27" y="79"/>
                  </a:cubicBezTo>
                  <a:cubicBezTo>
                    <a:pt x="0" y="83"/>
                    <a:pt x="0" y="83"/>
                    <a:pt x="0" y="83"/>
                  </a:cubicBezTo>
                  <a:cubicBezTo>
                    <a:pt x="0" y="121"/>
                    <a:pt x="0" y="121"/>
                    <a:pt x="0" y="121"/>
                  </a:cubicBezTo>
                  <a:cubicBezTo>
                    <a:pt x="27" y="125"/>
                    <a:pt x="27" y="125"/>
                    <a:pt x="27" y="125"/>
                  </a:cubicBezTo>
                  <a:cubicBezTo>
                    <a:pt x="28" y="130"/>
                    <a:pt x="30" y="134"/>
                    <a:pt x="32" y="139"/>
                  </a:cubicBezTo>
                  <a:cubicBezTo>
                    <a:pt x="16" y="161"/>
                    <a:pt x="16" y="161"/>
                    <a:pt x="16" y="161"/>
                  </a:cubicBezTo>
                  <a:cubicBezTo>
                    <a:pt x="43" y="187"/>
                    <a:pt x="43" y="187"/>
                    <a:pt x="43" y="187"/>
                  </a:cubicBezTo>
                  <a:cubicBezTo>
                    <a:pt x="65" y="172"/>
                    <a:pt x="65" y="172"/>
                    <a:pt x="65" y="172"/>
                  </a:cubicBezTo>
                  <a:cubicBezTo>
                    <a:pt x="69" y="174"/>
                    <a:pt x="74" y="176"/>
                    <a:pt x="78" y="177"/>
                  </a:cubicBezTo>
                  <a:cubicBezTo>
                    <a:pt x="83" y="204"/>
                    <a:pt x="83" y="204"/>
                    <a:pt x="83" y="204"/>
                  </a:cubicBezTo>
                  <a:cubicBezTo>
                    <a:pt x="120" y="204"/>
                    <a:pt x="120" y="204"/>
                    <a:pt x="120" y="204"/>
                  </a:cubicBezTo>
                  <a:cubicBezTo>
                    <a:pt x="125" y="177"/>
                    <a:pt x="125" y="177"/>
                    <a:pt x="125" y="177"/>
                  </a:cubicBezTo>
                  <a:cubicBezTo>
                    <a:pt x="130" y="176"/>
                    <a:pt x="134" y="174"/>
                    <a:pt x="138" y="172"/>
                  </a:cubicBezTo>
                  <a:cubicBezTo>
                    <a:pt x="160" y="187"/>
                    <a:pt x="160" y="187"/>
                    <a:pt x="160" y="187"/>
                  </a:cubicBezTo>
                  <a:cubicBezTo>
                    <a:pt x="187" y="161"/>
                    <a:pt x="187" y="161"/>
                    <a:pt x="187" y="161"/>
                  </a:cubicBezTo>
                  <a:cubicBezTo>
                    <a:pt x="171" y="139"/>
                    <a:pt x="171" y="139"/>
                    <a:pt x="171" y="139"/>
                  </a:cubicBezTo>
                  <a:cubicBezTo>
                    <a:pt x="173" y="134"/>
                    <a:pt x="175" y="130"/>
                    <a:pt x="177" y="125"/>
                  </a:cubicBezTo>
                  <a:lnTo>
                    <a:pt x="203" y="121"/>
                  </a:lnTo>
                  <a:close/>
                  <a:moveTo>
                    <a:pt x="102" y="136"/>
                  </a:moveTo>
                  <a:cubicBezTo>
                    <a:pt x="83" y="136"/>
                    <a:pt x="68" y="121"/>
                    <a:pt x="68" y="102"/>
                  </a:cubicBezTo>
                  <a:cubicBezTo>
                    <a:pt x="68" y="84"/>
                    <a:pt x="83" y="69"/>
                    <a:pt x="102" y="69"/>
                  </a:cubicBezTo>
                  <a:cubicBezTo>
                    <a:pt x="120" y="69"/>
                    <a:pt x="135" y="84"/>
                    <a:pt x="135" y="102"/>
                  </a:cubicBezTo>
                  <a:cubicBezTo>
                    <a:pt x="135" y="121"/>
                    <a:pt x="120" y="136"/>
                    <a:pt x="102" y="13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a:ln>
                  <a:noFill/>
                </a:ln>
                <a:solidFill>
                  <a:srgbClr val="000000"/>
                </a:solidFill>
                <a:effectLst/>
                <a:uLnTx/>
                <a:uFillTx/>
                <a:latin typeface="Arial" charset="0"/>
                <a:ea typeface="+mn-ea"/>
                <a:cs typeface="+mn-cs"/>
              </a:endParaRPr>
            </a:p>
          </p:txBody>
        </p:sp>
        <p:sp>
          <p:nvSpPr>
            <p:cNvPr id="94" name="Freeform 72">
              <a:extLst>
                <a:ext uri="{FF2B5EF4-FFF2-40B4-BE49-F238E27FC236}">
                  <a16:creationId xmlns:a16="http://schemas.microsoft.com/office/drawing/2014/main" id="{9317CC08-9E2A-5047-9845-3C382BBFBAB9}"/>
                </a:ext>
              </a:extLst>
            </p:cNvPr>
            <p:cNvSpPr>
              <a:spLocks/>
            </p:cNvSpPr>
            <p:nvPr/>
          </p:nvSpPr>
          <p:spPr bwMode="auto">
            <a:xfrm>
              <a:off x="5673258" y="1061500"/>
              <a:ext cx="251042" cy="128616"/>
            </a:xfrm>
            <a:custGeom>
              <a:avLst/>
              <a:gdLst>
                <a:gd name="T0" fmla="*/ 17837 w 19529"/>
                <a:gd name="T1" fmla="*/ 367 h 10315"/>
                <a:gd name="T2" fmla="*/ 14525 w 19529"/>
                <a:gd name="T3" fmla="*/ 3687 h 10315"/>
                <a:gd name="T4" fmla="*/ 9377 w 19529"/>
                <a:gd name="T5" fmla="*/ 3687 h 10315"/>
                <a:gd name="T6" fmla="*/ 9190 w 19529"/>
                <a:gd name="T7" fmla="*/ 3499 h 10315"/>
                <a:gd name="T8" fmla="*/ 9190 w 19529"/>
                <a:gd name="T9" fmla="*/ 3311 h 10315"/>
                <a:gd name="T10" fmla="*/ 9377 w 19529"/>
                <a:gd name="T11" fmla="*/ 3123 h 10315"/>
                <a:gd name="T12" fmla="*/ 12406 w 19529"/>
                <a:gd name="T13" fmla="*/ 3123 h 10315"/>
                <a:gd name="T14" fmla="*/ 13344 w 19529"/>
                <a:gd name="T15" fmla="*/ 2183 h 10315"/>
                <a:gd name="T16" fmla="*/ 12406 w 19529"/>
                <a:gd name="T17" fmla="*/ 1243 h 10315"/>
                <a:gd name="T18" fmla="*/ 5021 w 19529"/>
                <a:gd name="T19" fmla="*/ 1243 h 10315"/>
                <a:gd name="T20" fmla="*/ 4358 w 19529"/>
                <a:gd name="T21" fmla="*/ 1518 h 10315"/>
                <a:gd name="T22" fmla="*/ 280 w 19529"/>
                <a:gd name="T23" fmla="*/ 5608 h 10315"/>
                <a:gd name="T24" fmla="*/ 5 w 19529"/>
                <a:gd name="T25" fmla="*/ 6291 h 10315"/>
                <a:gd name="T26" fmla="*/ 7 w 19529"/>
                <a:gd name="T27" fmla="*/ 9424 h 10315"/>
                <a:gd name="T28" fmla="*/ 279 w 19529"/>
                <a:gd name="T29" fmla="*/ 10040 h 10315"/>
                <a:gd name="T30" fmla="*/ 942 w 19529"/>
                <a:gd name="T31" fmla="*/ 10315 h 10315"/>
                <a:gd name="T32" fmla="*/ 1606 w 19529"/>
                <a:gd name="T33" fmla="*/ 10040 h 10315"/>
                <a:gd name="T34" fmla="*/ 5410 w 19529"/>
                <a:gd name="T35" fmla="*/ 6226 h 10315"/>
                <a:gd name="T36" fmla="*/ 14257 w 19529"/>
                <a:gd name="T37" fmla="*/ 6226 h 10315"/>
                <a:gd name="T38" fmla="*/ 14920 w 19529"/>
                <a:gd name="T39" fmla="*/ 5951 h 10315"/>
                <a:gd name="T40" fmla="*/ 19163 w 19529"/>
                <a:gd name="T41" fmla="*/ 1697 h 10315"/>
                <a:gd name="T42" fmla="*/ 19163 w 19529"/>
                <a:gd name="T43" fmla="*/ 367 h 10315"/>
                <a:gd name="T44" fmla="*/ 17837 w 19529"/>
                <a:gd name="T45" fmla="*/ 367 h 10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529" h="10315">
                  <a:moveTo>
                    <a:pt x="17837" y="367"/>
                  </a:moveTo>
                  <a:lnTo>
                    <a:pt x="14525" y="3687"/>
                  </a:lnTo>
                  <a:lnTo>
                    <a:pt x="9377" y="3687"/>
                  </a:lnTo>
                  <a:cubicBezTo>
                    <a:pt x="9274" y="3687"/>
                    <a:pt x="9190" y="3603"/>
                    <a:pt x="9190" y="3499"/>
                  </a:cubicBezTo>
                  <a:lnTo>
                    <a:pt x="9190" y="3311"/>
                  </a:lnTo>
                  <a:cubicBezTo>
                    <a:pt x="9190" y="3207"/>
                    <a:pt x="9274" y="3123"/>
                    <a:pt x="9377" y="3123"/>
                  </a:cubicBezTo>
                  <a:lnTo>
                    <a:pt x="12406" y="3123"/>
                  </a:lnTo>
                  <a:cubicBezTo>
                    <a:pt x="12924" y="3123"/>
                    <a:pt x="13344" y="2702"/>
                    <a:pt x="13344" y="2183"/>
                  </a:cubicBezTo>
                  <a:cubicBezTo>
                    <a:pt x="13344" y="1664"/>
                    <a:pt x="12924" y="1243"/>
                    <a:pt x="12406" y="1243"/>
                  </a:cubicBezTo>
                  <a:lnTo>
                    <a:pt x="5021" y="1243"/>
                  </a:lnTo>
                  <a:cubicBezTo>
                    <a:pt x="4773" y="1243"/>
                    <a:pt x="4534" y="1342"/>
                    <a:pt x="4358" y="1518"/>
                  </a:cubicBezTo>
                  <a:lnTo>
                    <a:pt x="280" y="5608"/>
                  </a:lnTo>
                  <a:cubicBezTo>
                    <a:pt x="92" y="5796"/>
                    <a:pt x="0" y="6045"/>
                    <a:pt x="5" y="6291"/>
                  </a:cubicBezTo>
                  <a:cubicBezTo>
                    <a:pt x="9" y="6463"/>
                    <a:pt x="1" y="9296"/>
                    <a:pt x="7" y="9424"/>
                  </a:cubicBezTo>
                  <a:cubicBezTo>
                    <a:pt x="18" y="9648"/>
                    <a:pt x="109" y="9869"/>
                    <a:pt x="279" y="10040"/>
                  </a:cubicBezTo>
                  <a:cubicBezTo>
                    <a:pt x="462" y="10223"/>
                    <a:pt x="702" y="10315"/>
                    <a:pt x="942" y="10315"/>
                  </a:cubicBezTo>
                  <a:cubicBezTo>
                    <a:pt x="1182" y="10315"/>
                    <a:pt x="1422" y="10223"/>
                    <a:pt x="1606" y="10040"/>
                  </a:cubicBezTo>
                  <a:lnTo>
                    <a:pt x="5410" y="6226"/>
                  </a:lnTo>
                  <a:lnTo>
                    <a:pt x="14257" y="6226"/>
                  </a:lnTo>
                  <a:cubicBezTo>
                    <a:pt x="14506" y="6226"/>
                    <a:pt x="14744" y="6127"/>
                    <a:pt x="14920" y="5951"/>
                  </a:cubicBezTo>
                  <a:lnTo>
                    <a:pt x="19163" y="1697"/>
                  </a:lnTo>
                  <a:cubicBezTo>
                    <a:pt x="19529" y="1329"/>
                    <a:pt x="19529" y="734"/>
                    <a:pt x="19163" y="367"/>
                  </a:cubicBezTo>
                  <a:cubicBezTo>
                    <a:pt x="18797" y="0"/>
                    <a:pt x="18203" y="0"/>
                    <a:pt x="17837" y="367"/>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charset="0"/>
                <a:ea typeface="+mn-ea"/>
                <a:cs typeface="+mn-cs"/>
              </a:endParaRPr>
            </a:p>
          </p:txBody>
        </p:sp>
      </p:grpSp>
      <p:sp>
        <p:nvSpPr>
          <p:cNvPr id="72" name="Title 1">
            <a:extLst>
              <a:ext uri="{FF2B5EF4-FFF2-40B4-BE49-F238E27FC236}">
                <a16:creationId xmlns:a16="http://schemas.microsoft.com/office/drawing/2014/main" id="{835894EC-8F88-452D-B63E-C5530E4A3C6E}"/>
              </a:ext>
            </a:extLst>
          </p:cNvPr>
          <p:cNvSpPr>
            <a:spLocks noGrp="1"/>
          </p:cNvSpPr>
          <p:nvPr>
            <p:ph type="title"/>
          </p:nvPr>
        </p:nvSpPr>
        <p:spPr bwMode="gray">
          <a:xfrm>
            <a:off x="0" y="0"/>
            <a:ext cx="12191979" cy="1292630"/>
          </a:xfrm>
          <a:prstGeom prst="rect">
            <a:avLst/>
          </a:prstGeom>
          <a:solidFill>
            <a:srgbClr val="002576"/>
          </a:solidFill>
          <a:ln>
            <a:noFill/>
          </a:ln>
          <a:effectLst/>
        </p:spPr>
        <p:txBody>
          <a:bodyPr vert="horz" wrap="square" lIns="91440" tIns="45720" rIns="91440" bIns="45720" numCol="1" rtlCol="0" anchor="ctr" anchorCtr="0" compatLnSpc="1">
            <a:prstTxWarp prst="textNoShape">
              <a:avLst/>
            </a:prstTxWarp>
            <a:noAutofit/>
          </a:bodyPr>
          <a:lstStyle/>
          <a:p>
            <a:pPr algn="ctr" defTabSz="457200">
              <a:spcAft>
                <a:spcPts val="0"/>
              </a:spcAft>
              <a:tabLst/>
            </a:pPr>
            <a:r>
              <a:rPr lang="en-US" sz="2800" dirty="0">
                <a:solidFill>
                  <a:schemeClr val="bg1"/>
                </a:solidFill>
                <a:latin typeface="Arial Black"/>
              </a:rPr>
              <a:t>9350 Joseph Campau Avenue, Hamtramck</a:t>
            </a:r>
          </a:p>
        </p:txBody>
      </p:sp>
      <p:sp>
        <p:nvSpPr>
          <p:cNvPr id="4" name="Rectangle 3" hidden="1">
            <a:extLst>
              <a:ext uri="{FF2B5EF4-FFF2-40B4-BE49-F238E27FC236}">
                <a16:creationId xmlns:a16="http://schemas.microsoft.com/office/drawing/2014/main" id="{CDCE27E9-C525-4E72-AD2E-796332081183}"/>
              </a:ext>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9" name="Rectangle 8">
            <a:extLst>
              <a:ext uri="{FF2B5EF4-FFF2-40B4-BE49-F238E27FC236}">
                <a16:creationId xmlns:a16="http://schemas.microsoft.com/office/drawing/2014/main" id="{BEB3340A-B2E6-FE19-83C0-C7D4E2B8504F}"/>
              </a:ext>
            </a:extLst>
          </p:cNvPr>
          <p:cNvSpPr/>
          <p:nvPr/>
        </p:nvSpPr>
        <p:spPr>
          <a:xfrm>
            <a:off x="10883" y="1291012"/>
            <a:ext cx="12192000" cy="87733"/>
          </a:xfrm>
          <a:prstGeom prst="rect">
            <a:avLst/>
          </a:prstGeom>
          <a:solidFill>
            <a:srgbClr val="9CCF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8" name="Picture 7">
            <a:extLst>
              <a:ext uri="{FF2B5EF4-FFF2-40B4-BE49-F238E27FC236}">
                <a16:creationId xmlns:a16="http://schemas.microsoft.com/office/drawing/2014/main" id="{3C08EB6E-194F-06AC-88E8-819701EB5018}"/>
              </a:ext>
            </a:extLst>
          </p:cNvPr>
          <p:cNvPicPr>
            <a:picLocks noChangeAspect="1"/>
          </p:cNvPicPr>
          <p:nvPr/>
        </p:nvPicPr>
        <p:blipFill>
          <a:blip r:embed="rId7"/>
          <a:stretch>
            <a:fillRect/>
          </a:stretch>
        </p:blipFill>
        <p:spPr>
          <a:xfrm>
            <a:off x="6315888" y="1965075"/>
            <a:ext cx="5205551" cy="4220414"/>
          </a:xfrm>
          <a:prstGeom prst="rect">
            <a:avLst/>
          </a:prstGeom>
          <a:effectLst>
            <a:outerShdw blurRad="50800" dist="38100" dir="8100000" algn="tr" rotWithShape="0">
              <a:prstClr val="black">
                <a:alpha val="40000"/>
              </a:prstClr>
            </a:outerShdw>
          </a:effectLst>
        </p:spPr>
      </p:pic>
      <p:pic>
        <p:nvPicPr>
          <p:cNvPr id="11" name="Picture 10" descr="A building with a sign on the front&#10;&#10;Description automatically generated">
            <a:extLst>
              <a:ext uri="{FF2B5EF4-FFF2-40B4-BE49-F238E27FC236}">
                <a16:creationId xmlns:a16="http://schemas.microsoft.com/office/drawing/2014/main" id="{DF66048F-0D09-A14C-50F4-9098C0F5C594}"/>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96845" y="1911131"/>
            <a:ext cx="5699144" cy="4274358"/>
          </a:xfrm>
          <a:prstGeom prst="rect">
            <a:avLst/>
          </a:prstGeom>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20974885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D465143-8BC4-FBE0-398A-553DDDDB27C1}"/>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21949C2-263A-D016-3B78-F891A1788D9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421949C2-263A-D016-3B78-F891A1788D9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17F06E2E-4FBA-5D6B-CACF-4D4640C4D577}"/>
              </a:ext>
            </a:extLst>
          </p:cNvPr>
          <p:cNvGrpSpPr/>
          <p:nvPr/>
        </p:nvGrpSpPr>
        <p:grpSpPr>
          <a:xfrm>
            <a:off x="11660635" y="1104552"/>
            <a:ext cx="144734" cy="128417"/>
            <a:chOff x="11633817" y="1102402"/>
            <a:chExt cx="231147" cy="205087"/>
          </a:xfrm>
        </p:grpSpPr>
        <p:sp>
          <p:nvSpPr>
            <p:cNvPr id="151" name="Freeform 19">
              <a:extLst>
                <a:ext uri="{FF2B5EF4-FFF2-40B4-BE49-F238E27FC236}">
                  <a16:creationId xmlns:a16="http://schemas.microsoft.com/office/drawing/2014/main" id="{737858ED-A0A0-6952-683A-00D0BA7BF145}"/>
                </a:ext>
              </a:extLst>
            </p:cNvPr>
            <p:cNvSpPr>
              <a:spLocks/>
            </p:cNvSpPr>
            <p:nvPr/>
          </p:nvSpPr>
          <p:spPr bwMode="auto">
            <a:xfrm>
              <a:off x="11676657" y="1169876"/>
              <a:ext cx="83691" cy="29778"/>
            </a:xfrm>
            <a:custGeom>
              <a:avLst/>
              <a:gdLst>
                <a:gd name="T0" fmla="*/ 107 w 206"/>
                <a:gd name="T1" fmla="*/ 77 h 77"/>
                <a:gd name="T2" fmla="*/ 107 w 206"/>
                <a:gd name="T3" fmla="*/ 77 h 77"/>
                <a:gd name="T4" fmla="*/ 106 w 206"/>
                <a:gd name="T5" fmla="*/ 77 h 77"/>
                <a:gd name="T6" fmla="*/ 5 w 206"/>
                <a:gd name="T7" fmla="*/ 26 h 77"/>
                <a:gd name="T8" fmla="*/ 8 w 206"/>
                <a:gd name="T9" fmla="*/ 5 h 77"/>
                <a:gd name="T10" fmla="*/ 29 w 206"/>
                <a:gd name="T11" fmla="*/ 8 h 77"/>
                <a:gd name="T12" fmla="*/ 107 w 206"/>
                <a:gd name="T13" fmla="*/ 46 h 77"/>
                <a:gd name="T14" fmla="*/ 177 w 206"/>
                <a:gd name="T15" fmla="*/ 7 h 77"/>
                <a:gd name="T16" fmla="*/ 199 w 206"/>
                <a:gd name="T17" fmla="*/ 5 h 77"/>
                <a:gd name="T18" fmla="*/ 201 w 206"/>
                <a:gd name="T19" fmla="*/ 26 h 77"/>
                <a:gd name="T20" fmla="*/ 107 w 206"/>
                <a:gd name="T21"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6" h="77">
                  <a:moveTo>
                    <a:pt x="107" y="77"/>
                  </a:moveTo>
                  <a:cubicBezTo>
                    <a:pt x="107" y="77"/>
                    <a:pt x="107" y="77"/>
                    <a:pt x="107" y="77"/>
                  </a:cubicBezTo>
                  <a:cubicBezTo>
                    <a:pt x="106" y="77"/>
                    <a:pt x="106" y="77"/>
                    <a:pt x="106" y="77"/>
                  </a:cubicBezTo>
                  <a:cubicBezTo>
                    <a:pt x="52" y="74"/>
                    <a:pt x="13" y="36"/>
                    <a:pt x="5" y="26"/>
                  </a:cubicBezTo>
                  <a:cubicBezTo>
                    <a:pt x="0" y="19"/>
                    <a:pt x="1" y="10"/>
                    <a:pt x="8" y="5"/>
                  </a:cubicBezTo>
                  <a:cubicBezTo>
                    <a:pt x="15" y="0"/>
                    <a:pt x="24" y="1"/>
                    <a:pt x="29" y="8"/>
                  </a:cubicBezTo>
                  <a:cubicBezTo>
                    <a:pt x="34" y="14"/>
                    <a:pt x="66" y="44"/>
                    <a:pt x="107" y="46"/>
                  </a:cubicBezTo>
                  <a:cubicBezTo>
                    <a:pt x="145" y="46"/>
                    <a:pt x="177" y="8"/>
                    <a:pt x="177" y="7"/>
                  </a:cubicBezTo>
                  <a:cubicBezTo>
                    <a:pt x="182" y="1"/>
                    <a:pt x="192" y="0"/>
                    <a:pt x="199" y="5"/>
                  </a:cubicBezTo>
                  <a:cubicBezTo>
                    <a:pt x="205" y="10"/>
                    <a:pt x="206" y="20"/>
                    <a:pt x="201" y="26"/>
                  </a:cubicBezTo>
                  <a:cubicBezTo>
                    <a:pt x="199" y="28"/>
                    <a:pt x="160" y="77"/>
                    <a:pt x="107" y="7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a:ln>
                  <a:noFill/>
                </a:ln>
                <a:solidFill>
                  <a:srgbClr val="000000"/>
                </a:solidFill>
                <a:effectLst/>
                <a:uLnTx/>
                <a:uFillTx/>
                <a:latin typeface="Arial" charset="0"/>
                <a:ea typeface="+mn-ea"/>
                <a:cs typeface="+mn-cs"/>
              </a:endParaRPr>
            </a:p>
          </p:txBody>
        </p:sp>
        <p:sp>
          <p:nvSpPr>
            <p:cNvPr id="152" name="Freeform 20">
              <a:extLst>
                <a:ext uri="{FF2B5EF4-FFF2-40B4-BE49-F238E27FC236}">
                  <a16:creationId xmlns:a16="http://schemas.microsoft.com/office/drawing/2014/main" id="{FE5AF669-536B-A4E3-F391-9456C624CAB3}"/>
                </a:ext>
              </a:extLst>
            </p:cNvPr>
            <p:cNvSpPr>
              <a:spLocks noEditPoints="1"/>
            </p:cNvSpPr>
            <p:nvPr/>
          </p:nvSpPr>
          <p:spPr bwMode="auto">
            <a:xfrm>
              <a:off x="11633817" y="1102402"/>
              <a:ext cx="231147" cy="205087"/>
            </a:xfrm>
            <a:custGeom>
              <a:avLst/>
              <a:gdLst>
                <a:gd name="T0" fmla="*/ 550 w 570"/>
                <a:gd name="T1" fmla="*/ 406 h 524"/>
                <a:gd name="T2" fmla="*/ 397 w 570"/>
                <a:gd name="T3" fmla="*/ 305 h 524"/>
                <a:gd name="T4" fmla="*/ 395 w 570"/>
                <a:gd name="T5" fmla="*/ 304 h 524"/>
                <a:gd name="T6" fmla="*/ 418 w 570"/>
                <a:gd name="T7" fmla="*/ 209 h 524"/>
                <a:gd name="T8" fmla="*/ 209 w 570"/>
                <a:gd name="T9" fmla="*/ 0 h 524"/>
                <a:gd name="T10" fmla="*/ 0 w 570"/>
                <a:gd name="T11" fmla="*/ 209 h 524"/>
                <a:gd name="T12" fmla="*/ 209 w 570"/>
                <a:gd name="T13" fmla="*/ 418 h 524"/>
                <a:gd name="T14" fmla="*/ 336 w 570"/>
                <a:gd name="T15" fmla="*/ 375 h 524"/>
                <a:gd name="T16" fmla="*/ 337 w 570"/>
                <a:gd name="T17" fmla="*/ 376 h 524"/>
                <a:gd name="T18" fmla="*/ 464 w 570"/>
                <a:gd name="T19" fmla="*/ 510 h 524"/>
                <a:gd name="T20" fmla="*/ 520 w 570"/>
                <a:gd name="T21" fmla="*/ 505 h 524"/>
                <a:gd name="T22" fmla="*/ 556 w 570"/>
                <a:gd name="T23" fmla="*/ 462 h 524"/>
                <a:gd name="T24" fmla="*/ 550 w 570"/>
                <a:gd name="T25" fmla="*/ 406 h 524"/>
                <a:gd name="T26" fmla="*/ 209 w 570"/>
                <a:gd name="T27" fmla="*/ 364 h 524"/>
                <a:gd name="T28" fmla="*/ 54 w 570"/>
                <a:gd name="T29" fmla="*/ 209 h 524"/>
                <a:gd name="T30" fmla="*/ 209 w 570"/>
                <a:gd name="T31" fmla="*/ 54 h 524"/>
                <a:gd name="T32" fmla="*/ 364 w 570"/>
                <a:gd name="T33" fmla="*/ 209 h 524"/>
                <a:gd name="T34" fmla="*/ 209 w 570"/>
                <a:gd name="T35" fmla="*/ 36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0" h="524">
                  <a:moveTo>
                    <a:pt x="550" y="406"/>
                  </a:moveTo>
                  <a:cubicBezTo>
                    <a:pt x="397" y="305"/>
                    <a:pt x="397" y="305"/>
                    <a:pt x="397" y="305"/>
                  </a:cubicBezTo>
                  <a:cubicBezTo>
                    <a:pt x="396" y="305"/>
                    <a:pt x="396" y="304"/>
                    <a:pt x="395" y="304"/>
                  </a:cubicBezTo>
                  <a:cubicBezTo>
                    <a:pt x="410" y="276"/>
                    <a:pt x="418" y="243"/>
                    <a:pt x="418" y="209"/>
                  </a:cubicBezTo>
                  <a:cubicBezTo>
                    <a:pt x="418" y="94"/>
                    <a:pt x="324" y="0"/>
                    <a:pt x="209" y="0"/>
                  </a:cubicBezTo>
                  <a:cubicBezTo>
                    <a:pt x="94" y="0"/>
                    <a:pt x="0" y="94"/>
                    <a:pt x="0" y="209"/>
                  </a:cubicBezTo>
                  <a:cubicBezTo>
                    <a:pt x="0" y="324"/>
                    <a:pt x="94" y="418"/>
                    <a:pt x="209" y="418"/>
                  </a:cubicBezTo>
                  <a:cubicBezTo>
                    <a:pt x="257" y="418"/>
                    <a:pt x="301" y="402"/>
                    <a:pt x="336" y="375"/>
                  </a:cubicBezTo>
                  <a:cubicBezTo>
                    <a:pt x="336" y="375"/>
                    <a:pt x="337" y="376"/>
                    <a:pt x="337" y="376"/>
                  </a:cubicBezTo>
                  <a:cubicBezTo>
                    <a:pt x="464" y="510"/>
                    <a:pt x="464" y="510"/>
                    <a:pt x="464" y="510"/>
                  </a:cubicBezTo>
                  <a:cubicBezTo>
                    <a:pt x="481" y="524"/>
                    <a:pt x="506" y="522"/>
                    <a:pt x="520" y="505"/>
                  </a:cubicBezTo>
                  <a:cubicBezTo>
                    <a:pt x="556" y="462"/>
                    <a:pt x="556" y="462"/>
                    <a:pt x="556" y="462"/>
                  </a:cubicBezTo>
                  <a:cubicBezTo>
                    <a:pt x="570" y="445"/>
                    <a:pt x="567" y="420"/>
                    <a:pt x="550" y="406"/>
                  </a:cubicBezTo>
                  <a:close/>
                  <a:moveTo>
                    <a:pt x="209" y="364"/>
                  </a:moveTo>
                  <a:cubicBezTo>
                    <a:pt x="123" y="364"/>
                    <a:pt x="54" y="295"/>
                    <a:pt x="54" y="209"/>
                  </a:cubicBezTo>
                  <a:cubicBezTo>
                    <a:pt x="54" y="124"/>
                    <a:pt x="123" y="54"/>
                    <a:pt x="209" y="54"/>
                  </a:cubicBezTo>
                  <a:cubicBezTo>
                    <a:pt x="295" y="54"/>
                    <a:pt x="364" y="124"/>
                    <a:pt x="364" y="209"/>
                  </a:cubicBezTo>
                  <a:cubicBezTo>
                    <a:pt x="364" y="295"/>
                    <a:pt x="295" y="364"/>
                    <a:pt x="209" y="36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a:ln>
                  <a:noFill/>
                </a:ln>
                <a:solidFill>
                  <a:srgbClr val="000000"/>
                </a:solidFill>
                <a:effectLst/>
                <a:uLnTx/>
                <a:uFillTx/>
                <a:latin typeface="Arial" charset="0"/>
                <a:ea typeface="+mn-ea"/>
                <a:cs typeface="+mn-cs"/>
              </a:endParaRPr>
            </a:p>
          </p:txBody>
        </p:sp>
      </p:grpSp>
      <p:grpSp>
        <p:nvGrpSpPr>
          <p:cNvPr id="226" name="Group 225">
            <a:extLst>
              <a:ext uri="{FF2B5EF4-FFF2-40B4-BE49-F238E27FC236}">
                <a16:creationId xmlns:a16="http://schemas.microsoft.com/office/drawing/2014/main" id="{D0BBC96F-BE0F-9F28-B0A1-487430A9E8D4}"/>
              </a:ext>
            </a:extLst>
          </p:cNvPr>
          <p:cNvGrpSpPr/>
          <p:nvPr/>
        </p:nvGrpSpPr>
        <p:grpSpPr>
          <a:xfrm>
            <a:off x="5713706" y="1094902"/>
            <a:ext cx="170146" cy="178230"/>
            <a:chOff x="5673258" y="927146"/>
            <a:chExt cx="251042" cy="262970"/>
          </a:xfrm>
        </p:grpSpPr>
        <p:sp>
          <p:nvSpPr>
            <p:cNvPr id="200" name="Freeform 14">
              <a:extLst>
                <a:ext uri="{FF2B5EF4-FFF2-40B4-BE49-F238E27FC236}">
                  <a16:creationId xmlns:a16="http://schemas.microsoft.com/office/drawing/2014/main" id="{1322D285-9D15-D099-6EF2-C9701091E50A}"/>
                </a:ext>
              </a:extLst>
            </p:cNvPr>
            <p:cNvSpPr>
              <a:spLocks noEditPoints="1"/>
            </p:cNvSpPr>
            <p:nvPr/>
          </p:nvSpPr>
          <p:spPr bwMode="auto">
            <a:xfrm>
              <a:off x="5785978" y="927146"/>
              <a:ext cx="128800" cy="125036"/>
            </a:xfrm>
            <a:custGeom>
              <a:avLst/>
              <a:gdLst>
                <a:gd name="T0" fmla="*/ 203 w 203"/>
                <a:gd name="T1" fmla="*/ 121 h 204"/>
                <a:gd name="T2" fmla="*/ 203 w 203"/>
                <a:gd name="T3" fmla="*/ 83 h 204"/>
                <a:gd name="T4" fmla="*/ 177 w 203"/>
                <a:gd name="T5" fmla="*/ 79 h 204"/>
                <a:gd name="T6" fmla="*/ 171 w 203"/>
                <a:gd name="T7" fmla="*/ 66 h 204"/>
                <a:gd name="T8" fmla="*/ 187 w 203"/>
                <a:gd name="T9" fmla="*/ 44 h 204"/>
                <a:gd name="T10" fmla="*/ 160 w 203"/>
                <a:gd name="T11" fmla="*/ 17 h 204"/>
                <a:gd name="T12" fmla="*/ 138 w 203"/>
                <a:gd name="T13" fmla="*/ 32 h 204"/>
                <a:gd name="T14" fmla="*/ 125 w 203"/>
                <a:gd name="T15" fmla="*/ 27 h 204"/>
                <a:gd name="T16" fmla="*/ 120 w 203"/>
                <a:gd name="T17" fmla="*/ 0 h 204"/>
                <a:gd name="T18" fmla="*/ 83 w 203"/>
                <a:gd name="T19" fmla="*/ 0 h 204"/>
                <a:gd name="T20" fmla="*/ 78 w 203"/>
                <a:gd name="T21" fmla="*/ 27 h 204"/>
                <a:gd name="T22" fmla="*/ 65 w 203"/>
                <a:gd name="T23" fmla="*/ 32 h 204"/>
                <a:gd name="T24" fmla="*/ 43 w 203"/>
                <a:gd name="T25" fmla="*/ 17 h 204"/>
                <a:gd name="T26" fmla="*/ 16 w 203"/>
                <a:gd name="T27" fmla="*/ 44 h 204"/>
                <a:gd name="T28" fmla="*/ 32 w 203"/>
                <a:gd name="T29" fmla="*/ 66 h 204"/>
                <a:gd name="T30" fmla="*/ 27 w 203"/>
                <a:gd name="T31" fmla="*/ 79 h 204"/>
                <a:gd name="T32" fmla="*/ 0 w 203"/>
                <a:gd name="T33" fmla="*/ 83 h 204"/>
                <a:gd name="T34" fmla="*/ 0 w 203"/>
                <a:gd name="T35" fmla="*/ 121 h 204"/>
                <a:gd name="T36" fmla="*/ 27 w 203"/>
                <a:gd name="T37" fmla="*/ 125 h 204"/>
                <a:gd name="T38" fmla="*/ 32 w 203"/>
                <a:gd name="T39" fmla="*/ 139 h 204"/>
                <a:gd name="T40" fmla="*/ 16 w 203"/>
                <a:gd name="T41" fmla="*/ 161 h 204"/>
                <a:gd name="T42" fmla="*/ 43 w 203"/>
                <a:gd name="T43" fmla="*/ 187 h 204"/>
                <a:gd name="T44" fmla="*/ 65 w 203"/>
                <a:gd name="T45" fmla="*/ 172 h 204"/>
                <a:gd name="T46" fmla="*/ 78 w 203"/>
                <a:gd name="T47" fmla="*/ 177 h 204"/>
                <a:gd name="T48" fmla="*/ 83 w 203"/>
                <a:gd name="T49" fmla="*/ 204 h 204"/>
                <a:gd name="T50" fmla="*/ 120 w 203"/>
                <a:gd name="T51" fmla="*/ 204 h 204"/>
                <a:gd name="T52" fmla="*/ 125 w 203"/>
                <a:gd name="T53" fmla="*/ 177 h 204"/>
                <a:gd name="T54" fmla="*/ 138 w 203"/>
                <a:gd name="T55" fmla="*/ 172 h 204"/>
                <a:gd name="T56" fmla="*/ 160 w 203"/>
                <a:gd name="T57" fmla="*/ 187 h 204"/>
                <a:gd name="T58" fmla="*/ 187 w 203"/>
                <a:gd name="T59" fmla="*/ 161 h 204"/>
                <a:gd name="T60" fmla="*/ 171 w 203"/>
                <a:gd name="T61" fmla="*/ 139 h 204"/>
                <a:gd name="T62" fmla="*/ 177 w 203"/>
                <a:gd name="T63" fmla="*/ 125 h 204"/>
                <a:gd name="T64" fmla="*/ 203 w 203"/>
                <a:gd name="T65" fmla="*/ 121 h 204"/>
                <a:gd name="T66" fmla="*/ 102 w 203"/>
                <a:gd name="T67" fmla="*/ 136 h 204"/>
                <a:gd name="T68" fmla="*/ 68 w 203"/>
                <a:gd name="T69" fmla="*/ 102 h 204"/>
                <a:gd name="T70" fmla="*/ 102 w 203"/>
                <a:gd name="T71" fmla="*/ 69 h 204"/>
                <a:gd name="T72" fmla="*/ 135 w 203"/>
                <a:gd name="T73" fmla="*/ 102 h 204"/>
                <a:gd name="T74" fmla="*/ 102 w 203"/>
                <a:gd name="T75" fmla="*/ 13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3" h="204">
                  <a:moveTo>
                    <a:pt x="203" y="121"/>
                  </a:moveTo>
                  <a:cubicBezTo>
                    <a:pt x="203" y="83"/>
                    <a:pt x="203" y="83"/>
                    <a:pt x="203" y="83"/>
                  </a:cubicBezTo>
                  <a:cubicBezTo>
                    <a:pt x="177" y="79"/>
                    <a:pt x="177" y="79"/>
                    <a:pt x="177" y="79"/>
                  </a:cubicBezTo>
                  <a:cubicBezTo>
                    <a:pt x="175" y="74"/>
                    <a:pt x="173" y="70"/>
                    <a:pt x="171" y="66"/>
                  </a:cubicBezTo>
                  <a:cubicBezTo>
                    <a:pt x="187" y="44"/>
                    <a:pt x="187" y="44"/>
                    <a:pt x="187" y="44"/>
                  </a:cubicBezTo>
                  <a:cubicBezTo>
                    <a:pt x="160" y="17"/>
                    <a:pt x="160" y="17"/>
                    <a:pt x="160" y="17"/>
                  </a:cubicBezTo>
                  <a:cubicBezTo>
                    <a:pt x="138" y="32"/>
                    <a:pt x="138" y="32"/>
                    <a:pt x="138" y="32"/>
                  </a:cubicBezTo>
                  <a:cubicBezTo>
                    <a:pt x="134" y="30"/>
                    <a:pt x="130" y="28"/>
                    <a:pt x="125" y="27"/>
                  </a:cubicBezTo>
                  <a:cubicBezTo>
                    <a:pt x="120" y="0"/>
                    <a:pt x="120" y="0"/>
                    <a:pt x="120" y="0"/>
                  </a:cubicBezTo>
                  <a:cubicBezTo>
                    <a:pt x="83" y="0"/>
                    <a:pt x="83" y="0"/>
                    <a:pt x="83" y="0"/>
                  </a:cubicBezTo>
                  <a:cubicBezTo>
                    <a:pt x="78" y="27"/>
                    <a:pt x="78" y="27"/>
                    <a:pt x="78" y="27"/>
                  </a:cubicBezTo>
                  <a:cubicBezTo>
                    <a:pt x="74" y="28"/>
                    <a:pt x="69" y="30"/>
                    <a:pt x="65" y="32"/>
                  </a:cubicBezTo>
                  <a:cubicBezTo>
                    <a:pt x="43" y="17"/>
                    <a:pt x="43" y="17"/>
                    <a:pt x="43" y="17"/>
                  </a:cubicBezTo>
                  <a:cubicBezTo>
                    <a:pt x="16" y="44"/>
                    <a:pt x="16" y="44"/>
                    <a:pt x="16" y="44"/>
                  </a:cubicBezTo>
                  <a:cubicBezTo>
                    <a:pt x="32" y="66"/>
                    <a:pt x="32" y="66"/>
                    <a:pt x="32" y="66"/>
                  </a:cubicBezTo>
                  <a:cubicBezTo>
                    <a:pt x="30" y="70"/>
                    <a:pt x="28" y="74"/>
                    <a:pt x="27" y="79"/>
                  </a:cubicBezTo>
                  <a:cubicBezTo>
                    <a:pt x="0" y="83"/>
                    <a:pt x="0" y="83"/>
                    <a:pt x="0" y="83"/>
                  </a:cubicBezTo>
                  <a:cubicBezTo>
                    <a:pt x="0" y="121"/>
                    <a:pt x="0" y="121"/>
                    <a:pt x="0" y="121"/>
                  </a:cubicBezTo>
                  <a:cubicBezTo>
                    <a:pt x="27" y="125"/>
                    <a:pt x="27" y="125"/>
                    <a:pt x="27" y="125"/>
                  </a:cubicBezTo>
                  <a:cubicBezTo>
                    <a:pt x="28" y="130"/>
                    <a:pt x="30" y="134"/>
                    <a:pt x="32" y="139"/>
                  </a:cubicBezTo>
                  <a:cubicBezTo>
                    <a:pt x="16" y="161"/>
                    <a:pt x="16" y="161"/>
                    <a:pt x="16" y="161"/>
                  </a:cubicBezTo>
                  <a:cubicBezTo>
                    <a:pt x="43" y="187"/>
                    <a:pt x="43" y="187"/>
                    <a:pt x="43" y="187"/>
                  </a:cubicBezTo>
                  <a:cubicBezTo>
                    <a:pt x="65" y="172"/>
                    <a:pt x="65" y="172"/>
                    <a:pt x="65" y="172"/>
                  </a:cubicBezTo>
                  <a:cubicBezTo>
                    <a:pt x="69" y="174"/>
                    <a:pt x="74" y="176"/>
                    <a:pt x="78" y="177"/>
                  </a:cubicBezTo>
                  <a:cubicBezTo>
                    <a:pt x="83" y="204"/>
                    <a:pt x="83" y="204"/>
                    <a:pt x="83" y="204"/>
                  </a:cubicBezTo>
                  <a:cubicBezTo>
                    <a:pt x="120" y="204"/>
                    <a:pt x="120" y="204"/>
                    <a:pt x="120" y="204"/>
                  </a:cubicBezTo>
                  <a:cubicBezTo>
                    <a:pt x="125" y="177"/>
                    <a:pt x="125" y="177"/>
                    <a:pt x="125" y="177"/>
                  </a:cubicBezTo>
                  <a:cubicBezTo>
                    <a:pt x="130" y="176"/>
                    <a:pt x="134" y="174"/>
                    <a:pt x="138" y="172"/>
                  </a:cubicBezTo>
                  <a:cubicBezTo>
                    <a:pt x="160" y="187"/>
                    <a:pt x="160" y="187"/>
                    <a:pt x="160" y="187"/>
                  </a:cubicBezTo>
                  <a:cubicBezTo>
                    <a:pt x="187" y="161"/>
                    <a:pt x="187" y="161"/>
                    <a:pt x="187" y="161"/>
                  </a:cubicBezTo>
                  <a:cubicBezTo>
                    <a:pt x="171" y="139"/>
                    <a:pt x="171" y="139"/>
                    <a:pt x="171" y="139"/>
                  </a:cubicBezTo>
                  <a:cubicBezTo>
                    <a:pt x="173" y="134"/>
                    <a:pt x="175" y="130"/>
                    <a:pt x="177" y="125"/>
                  </a:cubicBezTo>
                  <a:lnTo>
                    <a:pt x="203" y="121"/>
                  </a:lnTo>
                  <a:close/>
                  <a:moveTo>
                    <a:pt x="102" y="136"/>
                  </a:moveTo>
                  <a:cubicBezTo>
                    <a:pt x="83" y="136"/>
                    <a:pt x="68" y="121"/>
                    <a:pt x="68" y="102"/>
                  </a:cubicBezTo>
                  <a:cubicBezTo>
                    <a:pt x="68" y="84"/>
                    <a:pt x="83" y="69"/>
                    <a:pt x="102" y="69"/>
                  </a:cubicBezTo>
                  <a:cubicBezTo>
                    <a:pt x="120" y="69"/>
                    <a:pt x="135" y="84"/>
                    <a:pt x="135" y="102"/>
                  </a:cubicBezTo>
                  <a:cubicBezTo>
                    <a:pt x="135" y="121"/>
                    <a:pt x="120" y="136"/>
                    <a:pt x="102" y="13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a:ln>
                  <a:noFill/>
                </a:ln>
                <a:solidFill>
                  <a:srgbClr val="000000"/>
                </a:solidFill>
                <a:effectLst/>
                <a:uLnTx/>
                <a:uFillTx/>
                <a:latin typeface="Arial" charset="0"/>
                <a:ea typeface="+mn-ea"/>
                <a:cs typeface="+mn-cs"/>
              </a:endParaRPr>
            </a:p>
          </p:txBody>
        </p:sp>
        <p:sp>
          <p:nvSpPr>
            <p:cNvPr id="94" name="Freeform 72">
              <a:extLst>
                <a:ext uri="{FF2B5EF4-FFF2-40B4-BE49-F238E27FC236}">
                  <a16:creationId xmlns:a16="http://schemas.microsoft.com/office/drawing/2014/main" id="{77EB6F0C-C793-9738-65EC-0147D8C076CA}"/>
                </a:ext>
              </a:extLst>
            </p:cNvPr>
            <p:cNvSpPr>
              <a:spLocks/>
            </p:cNvSpPr>
            <p:nvPr/>
          </p:nvSpPr>
          <p:spPr bwMode="auto">
            <a:xfrm>
              <a:off x="5673258" y="1061500"/>
              <a:ext cx="251042" cy="128616"/>
            </a:xfrm>
            <a:custGeom>
              <a:avLst/>
              <a:gdLst>
                <a:gd name="T0" fmla="*/ 17837 w 19529"/>
                <a:gd name="T1" fmla="*/ 367 h 10315"/>
                <a:gd name="T2" fmla="*/ 14525 w 19529"/>
                <a:gd name="T3" fmla="*/ 3687 h 10315"/>
                <a:gd name="T4" fmla="*/ 9377 w 19529"/>
                <a:gd name="T5" fmla="*/ 3687 h 10315"/>
                <a:gd name="T6" fmla="*/ 9190 w 19529"/>
                <a:gd name="T7" fmla="*/ 3499 h 10315"/>
                <a:gd name="T8" fmla="*/ 9190 w 19529"/>
                <a:gd name="T9" fmla="*/ 3311 h 10315"/>
                <a:gd name="T10" fmla="*/ 9377 w 19529"/>
                <a:gd name="T11" fmla="*/ 3123 h 10315"/>
                <a:gd name="T12" fmla="*/ 12406 w 19529"/>
                <a:gd name="T13" fmla="*/ 3123 h 10315"/>
                <a:gd name="T14" fmla="*/ 13344 w 19529"/>
                <a:gd name="T15" fmla="*/ 2183 h 10315"/>
                <a:gd name="T16" fmla="*/ 12406 w 19529"/>
                <a:gd name="T17" fmla="*/ 1243 h 10315"/>
                <a:gd name="T18" fmla="*/ 5021 w 19529"/>
                <a:gd name="T19" fmla="*/ 1243 h 10315"/>
                <a:gd name="T20" fmla="*/ 4358 w 19529"/>
                <a:gd name="T21" fmla="*/ 1518 h 10315"/>
                <a:gd name="T22" fmla="*/ 280 w 19529"/>
                <a:gd name="T23" fmla="*/ 5608 h 10315"/>
                <a:gd name="T24" fmla="*/ 5 w 19529"/>
                <a:gd name="T25" fmla="*/ 6291 h 10315"/>
                <a:gd name="T26" fmla="*/ 7 w 19529"/>
                <a:gd name="T27" fmla="*/ 9424 h 10315"/>
                <a:gd name="T28" fmla="*/ 279 w 19529"/>
                <a:gd name="T29" fmla="*/ 10040 h 10315"/>
                <a:gd name="T30" fmla="*/ 942 w 19529"/>
                <a:gd name="T31" fmla="*/ 10315 h 10315"/>
                <a:gd name="T32" fmla="*/ 1606 w 19529"/>
                <a:gd name="T33" fmla="*/ 10040 h 10315"/>
                <a:gd name="T34" fmla="*/ 5410 w 19529"/>
                <a:gd name="T35" fmla="*/ 6226 h 10315"/>
                <a:gd name="T36" fmla="*/ 14257 w 19529"/>
                <a:gd name="T37" fmla="*/ 6226 h 10315"/>
                <a:gd name="T38" fmla="*/ 14920 w 19529"/>
                <a:gd name="T39" fmla="*/ 5951 h 10315"/>
                <a:gd name="T40" fmla="*/ 19163 w 19529"/>
                <a:gd name="T41" fmla="*/ 1697 h 10315"/>
                <a:gd name="T42" fmla="*/ 19163 w 19529"/>
                <a:gd name="T43" fmla="*/ 367 h 10315"/>
                <a:gd name="T44" fmla="*/ 17837 w 19529"/>
                <a:gd name="T45" fmla="*/ 367 h 10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529" h="10315">
                  <a:moveTo>
                    <a:pt x="17837" y="367"/>
                  </a:moveTo>
                  <a:lnTo>
                    <a:pt x="14525" y="3687"/>
                  </a:lnTo>
                  <a:lnTo>
                    <a:pt x="9377" y="3687"/>
                  </a:lnTo>
                  <a:cubicBezTo>
                    <a:pt x="9274" y="3687"/>
                    <a:pt x="9190" y="3603"/>
                    <a:pt x="9190" y="3499"/>
                  </a:cubicBezTo>
                  <a:lnTo>
                    <a:pt x="9190" y="3311"/>
                  </a:lnTo>
                  <a:cubicBezTo>
                    <a:pt x="9190" y="3207"/>
                    <a:pt x="9274" y="3123"/>
                    <a:pt x="9377" y="3123"/>
                  </a:cubicBezTo>
                  <a:lnTo>
                    <a:pt x="12406" y="3123"/>
                  </a:lnTo>
                  <a:cubicBezTo>
                    <a:pt x="12924" y="3123"/>
                    <a:pt x="13344" y="2702"/>
                    <a:pt x="13344" y="2183"/>
                  </a:cubicBezTo>
                  <a:cubicBezTo>
                    <a:pt x="13344" y="1664"/>
                    <a:pt x="12924" y="1243"/>
                    <a:pt x="12406" y="1243"/>
                  </a:cubicBezTo>
                  <a:lnTo>
                    <a:pt x="5021" y="1243"/>
                  </a:lnTo>
                  <a:cubicBezTo>
                    <a:pt x="4773" y="1243"/>
                    <a:pt x="4534" y="1342"/>
                    <a:pt x="4358" y="1518"/>
                  </a:cubicBezTo>
                  <a:lnTo>
                    <a:pt x="280" y="5608"/>
                  </a:lnTo>
                  <a:cubicBezTo>
                    <a:pt x="92" y="5796"/>
                    <a:pt x="0" y="6045"/>
                    <a:pt x="5" y="6291"/>
                  </a:cubicBezTo>
                  <a:cubicBezTo>
                    <a:pt x="9" y="6463"/>
                    <a:pt x="1" y="9296"/>
                    <a:pt x="7" y="9424"/>
                  </a:cubicBezTo>
                  <a:cubicBezTo>
                    <a:pt x="18" y="9648"/>
                    <a:pt x="109" y="9869"/>
                    <a:pt x="279" y="10040"/>
                  </a:cubicBezTo>
                  <a:cubicBezTo>
                    <a:pt x="462" y="10223"/>
                    <a:pt x="702" y="10315"/>
                    <a:pt x="942" y="10315"/>
                  </a:cubicBezTo>
                  <a:cubicBezTo>
                    <a:pt x="1182" y="10315"/>
                    <a:pt x="1422" y="10223"/>
                    <a:pt x="1606" y="10040"/>
                  </a:cubicBezTo>
                  <a:lnTo>
                    <a:pt x="5410" y="6226"/>
                  </a:lnTo>
                  <a:lnTo>
                    <a:pt x="14257" y="6226"/>
                  </a:lnTo>
                  <a:cubicBezTo>
                    <a:pt x="14506" y="6226"/>
                    <a:pt x="14744" y="6127"/>
                    <a:pt x="14920" y="5951"/>
                  </a:cubicBezTo>
                  <a:lnTo>
                    <a:pt x="19163" y="1697"/>
                  </a:lnTo>
                  <a:cubicBezTo>
                    <a:pt x="19529" y="1329"/>
                    <a:pt x="19529" y="734"/>
                    <a:pt x="19163" y="367"/>
                  </a:cubicBezTo>
                  <a:cubicBezTo>
                    <a:pt x="18797" y="0"/>
                    <a:pt x="18203" y="0"/>
                    <a:pt x="17837" y="367"/>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charset="0"/>
                <a:ea typeface="+mn-ea"/>
                <a:cs typeface="+mn-cs"/>
              </a:endParaRPr>
            </a:p>
          </p:txBody>
        </p:sp>
      </p:grpSp>
      <p:sp>
        <p:nvSpPr>
          <p:cNvPr id="72" name="Title 1">
            <a:extLst>
              <a:ext uri="{FF2B5EF4-FFF2-40B4-BE49-F238E27FC236}">
                <a16:creationId xmlns:a16="http://schemas.microsoft.com/office/drawing/2014/main" id="{BCD1A9EE-6C46-0A41-5EC3-9858E8774DC9}"/>
              </a:ext>
            </a:extLst>
          </p:cNvPr>
          <p:cNvSpPr>
            <a:spLocks noGrp="1"/>
          </p:cNvSpPr>
          <p:nvPr>
            <p:ph type="title"/>
          </p:nvPr>
        </p:nvSpPr>
        <p:spPr bwMode="gray">
          <a:xfrm>
            <a:off x="0" y="0"/>
            <a:ext cx="12191979" cy="1292630"/>
          </a:xfrm>
          <a:prstGeom prst="rect">
            <a:avLst/>
          </a:prstGeom>
          <a:solidFill>
            <a:srgbClr val="002576"/>
          </a:solidFill>
          <a:ln>
            <a:noFill/>
          </a:ln>
          <a:effectLst/>
        </p:spPr>
        <p:txBody>
          <a:bodyPr vert="horz" wrap="square" lIns="91440" tIns="45720" rIns="91440" bIns="45720" numCol="1" rtlCol="0" anchor="ctr" anchorCtr="0" compatLnSpc="1">
            <a:prstTxWarp prst="textNoShape">
              <a:avLst/>
            </a:prstTxWarp>
            <a:noAutofit/>
          </a:bodyPr>
          <a:lstStyle/>
          <a:p>
            <a:pPr algn="ctr" defTabSz="457200">
              <a:spcAft>
                <a:spcPts val="0"/>
              </a:spcAft>
              <a:tabLst/>
            </a:pPr>
            <a:r>
              <a:rPr lang="en-US" sz="2800" dirty="0">
                <a:solidFill>
                  <a:schemeClr val="bg1"/>
                </a:solidFill>
                <a:latin typeface="Arial Black"/>
              </a:rPr>
              <a:t>206 Days Avenue, Buchanan</a:t>
            </a:r>
          </a:p>
        </p:txBody>
      </p:sp>
      <p:sp>
        <p:nvSpPr>
          <p:cNvPr id="4" name="Rectangle 3" hidden="1">
            <a:extLst>
              <a:ext uri="{FF2B5EF4-FFF2-40B4-BE49-F238E27FC236}">
                <a16:creationId xmlns:a16="http://schemas.microsoft.com/office/drawing/2014/main" id="{293DD86B-5CE2-3FBA-9D3D-6418A4F4FBBF}"/>
              </a:ext>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9" name="Rectangle 8">
            <a:extLst>
              <a:ext uri="{FF2B5EF4-FFF2-40B4-BE49-F238E27FC236}">
                <a16:creationId xmlns:a16="http://schemas.microsoft.com/office/drawing/2014/main" id="{029C9BB0-0691-A84B-2489-F4D0EFFEA47B}"/>
              </a:ext>
            </a:extLst>
          </p:cNvPr>
          <p:cNvSpPr/>
          <p:nvPr/>
        </p:nvSpPr>
        <p:spPr>
          <a:xfrm>
            <a:off x="10883" y="1291012"/>
            <a:ext cx="12192000" cy="87733"/>
          </a:xfrm>
          <a:prstGeom prst="rect">
            <a:avLst/>
          </a:prstGeom>
          <a:solidFill>
            <a:srgbClr val="9CCF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5" name="Picture 4" descr="A building with trees in the front&#10;&#10;AI-generated content may be incorrect.">
            <a:extLst>
              <a:ext uri="{FF2B5EF4-FFF2-40B4-BE49-F238E27FC236}">
                <a16:creationId xmlns:a16="http://schemas.microsoft.com/office/drawing/2014/main" id="{3FBB2706-B6E8-965E-C36A-B6A8AC97C53E}"/>
              </a:ext>
            </a:extLst>
          </p:cNvPr>
          <p:cNvPicPr>
            <a:picLocks noChangeAspect="1"/>
          </p:cNvPicPr>
          <p:nvPr/>
        </p:nvPicPr>
        <p:blipFill>
          <a:blip r:embed="rId7">
            <a:extLst>
              <a:ext uri="{28A0092B-C50C-407E-A947-70E740481C1C}">
                <a14:useLocalDpi xmlns:a14="http://schemas.microsoft.com/office/drawing/2010/main" val="0"/>
              </a:ext>
            </a:extLst>
          </a:blip>
          <a:srcRect r="23495" b="12060"/>
          <a:stretch/>
        </p:blipFill>
        <p:spPr>
          <a:xfrm>
            <a:off x="2856511" y="3485745"/>
            <a:ext cx="8941629" cy="3196792"/>
          </a:xfrm>
          <a:prstGeom prst="rect">
            <a:avLst/>
          </a:prstGeom>
          <a:effectLst>
            <a:outerShdw blurRad="50800" dist="38100" dir="8100000" algn="tr" rotWithShape="0">
              <a:prstClr val="black">
                <a:alpha val="40000"/>
              </a:prstClr>
            </a:outerShdw>
          </a:effectLst>
        </p:spPr>
      </p:pic>
      <p:pic>
        <p:nvPicPr>
          <p:cNvPr id="10" name="Picture 9" descr="A picture containing outdoor, sky, road, building&#10;&#10;AI-generated content may be incorrect.">
            <a:extLst>
              <a:ext uri="{FF2B5EF4-FFF2-40B4-BE49-F238E27FC236}">
                <a16:creationId xmlns:a16="http://schemas.microsoft.com/office/drawing/2014/main" id="{811D96BC-CCFC-2B4A-C3CA-455F7034DEF4}"/>
              </a:ext>
            </a:extLst>
          </p:cNvPr>
          <p:cNvPicPr>
            <a:picLocks noChangeAspect="1"/>
          </p:cNvPicPr>
          <p:nvPr/>
        </p:nvPicPr>
        <p:blipFill>
          <a:blip r:embed="rId8">
            <a:extLst>
              <a:ext uri="{28A0092B-C50C-407E-A947-70E740481C1C}">
                <a14:useLocalDpi xmlns:a14="http://schemas.microsoft.com/office/drawing/2010/main" val="0"/>
              </a:ext>
            </a:extLst>
          </a:blip>
          <a:srcRect l="7849" t="14658" b="16084"/>
          <a:stretch/>
        </p:blipFill>
        <p:spPr>
          <a:xfrm>
            <a:off x="195943" y="1554654"/>
            <a:ext cx="4995578" cy="2815921"/>
          </a:xfrm>
          <a:prstGeom prst="rect">
            <a:avLst/>
          </a:prstGeom>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258521335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CB6D39-73AB-D92E-133E-0B5AC35AA0A8}"/>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F246247-F8FE-5110-0818-68C83F0051F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4F246247-F8FE-5110-0818-68C83F0051F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0970327E-280B-9673-B415-FF8058BB3142}"/>
              </a:ext>
            </a:extLst>
          </p:cNvPr>
          <p:cNvGrpSpPr/>
          <p:nvPr/>
        </p:nvGrpSpPr>
        <p:grpSpPr>
          <a:xfrm>
            <a:off x="11660635" y="1104552"/>
            <a:ext cx="144734" cy="128417"/>
            <a:chOff x="11633817" y="1102402"/>
            <a:chExt cx="231147" cy="205087"/>
          </a:xfrm>
        </p:grpSpPr>
        <p:sp>
          <p:nvSpPr>
            <p:cNvPr id="151" name="Freeform 19">
              <a:extLst>
                <a:ext uri="{FF2B5EF4-FFF2-40B4-BE49-F238E27FC236}">
                  <a16:creationId xmlns:a16="http://schemas.microsoft.com/office/drawing/2014/main" id="{4B9A5501-1801-4478-48FC-F7F544AD5979}"/>
                </a:ext>
              </a:extLst>
            </p:cNvPr>
            <p:cNvSpPr>
              <a:spLocks/>
            </p:cNvSpPr>
            <p:nvPr/>
          </p:nvSpPr>
          <p:spPr bwMode="auto">
            <a:xfrm>
              <a:off x="11676657" y="1169876"/>
              <a:ext cx="83691" cy="29778"/>
            </a:xfrm>
            <a:custGeom>
              <a:avLst/>
              <a:gdLst>
                <a:gd name="T0" fmla="*/ 107 w 206"/>
                <a:gd name="T1" fmla="*/ 77 h 77"/>
                <a:gd name="T2" fmla="*/ 107 w 206"/>
                <a:gd name="T3" fmla="*/ 77 h 77"/>
                <a:gd name="T4" fmla="*/ 106 w 206"/>
                <a:gd name="T5" fmla="*/ 77 h 77"/>
                <a:gd name="T6" fmla="*/ 5 w 206"/>
                <a:gd name="T7" fmla="*/ 26 h 77"/>
                <a:gd name="T8" fmla="*/ 8 w 206"/>
                <a:gd name="T9" fmla="*/ 5 h 77"/>
                <a:gd name="T10" fmla="*/ 29 w 206"/>
                <a:gd name="T11" fmla="*/ 8 h 77"/>
                <a:gd name="T12" fmla="*/ 107 w 206"/>
                <a:gd name="T13" fmla="*/ 46 h 77"/>
                <a:gd name="T14" fmla="*/ 177 w 206"/>
                <a:gd name="T15" fmla="*/ 7 h 77"/>
                <a:gd name="T16" fmla="*/ 199 w 206"/>
                <a:gd name="T17" fmla="*/ 5 h 77"/>
                <a:gd name="T18" fmla="*/ 201 w 206"/>
                <a:gd name="T19" fmla="*/ 26 h 77"/>
                <a:gd name="T20" fmla="*/ 107 w 206"/>
                <a:gd name="T21"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6" h="77">
                  <a:moveTo>
                    <a:pt x="107" y="77"/>
                  </a:moveTo>
                  <a:cubicBezTo>
                    <a:pt x="107" y="77"/>
                    <a:pt x="107" y="77"/>
                    <a:pt x="107" y="77"/>
                  </a:cubicBezTo>
                  <a:cubicBezTo>
                    <a:pt x="106" y="77"/>
                    <a:pt x="106" y="77"/>
                    <a:pt x="106" y="77"/>
                  </a:cubicBezTo>
                  <a:cubicBezTo>
                    <a:pt x="52" y="74"/>
                    <a:pt x="13" y="36"/>
                    <a:pt x="5" y="26"/>
                  </a:cubicBezTo>
                  <a:cubicBezTo>
                    <a:pt x="0" y="19"/>
                    <a:pt x="1" y="10"/>
                    <a:pt x="8" y="5"/>
                  </a:cubicBezTo>
                  <a:cubicBezTo>
                    <a:pt x="15" y="0"/>
                    <a:pt x="24" y="1"/>
                    <a:pt x="29" y="8"/>
                  </a:cubicBezTo>
                  <a:cubicBezTo>
                    <a:pt x="34" y="14"/>
                    <a:pt x="66" y="44"/>
                    <a:pt x="107" y="46"/>
                  </a:cubicBezTo>
                  <a:cubicBezTo>
                    <a:pt x="145" y="46"/>
                    <a:pt x="177" y="8"/>
                    <a:pt x="177" y="7"/>
                  </a:cubicBezTo>
                  <a:cubicBezTo>
                    <a:pt x="182" y="1"/>
                    <a:pt x="192" y="0"/>
                    <a:pt x="199" y="5"/>
                  </a:cubicBezTo>
                  <a:cubicBezTo>
                    <a:pt x="205" y="10"/>
                    <a:pt x="206" y="20"/>
                    <a:pt x="201" y="26"/>
                  </a:cubicBezTo>
                  <a:cubicBezTo>
                    <a:pt x="199" y="28"/>
                    <a:pt x="160" y="77"/>
                    <a:pt x="107" y="7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a:ln>
                  <a:noFill/>
                </a:ln>
                <a:solidFill>
                  <a:srgbClr val="000000"/>
                </a:solidFill>
                <a:effectLst/>
                <a:uLnTx/>
                <a:uFillTx/>
                <a:latin typeface="Arial" charset="0"/>
                <a:ea typeface="+mn-ea"/>
                <a:cs typeface="+mn-cs"/>
              </a:endParaRPr>
            </a:p>
          </p:txBody>
        </p:sp>
        <p:sp>
          <p:nvSpPr>
            <p:cNvPr id="152" name="Freeform 20">
              <a:extLst>
                <a:ext uri="{FF2B5EF4-FFF2-40B4-BE49-F238E27FC236}">
                  <a16:creationId xmlns:a16="http://schemas.microsoft.com/office/drawing/2014/main" id="{76BB7BA2-0860-9B90-0CEA-B53E887CFBA1}"/>
                </a:ext>
              </a:extLst>
            </p:cNvPr>
            <p:cNvSpPr>
              <a:spLocks noEditPoints="1"/>
            </p:cNvSpPr>
            <p:nvPr/>
          </p:nvSpPr>
          <p:spPr bwMode="auto">
            <a:xfrm>
              <a:off x="11633817" y="1102402"/>
              <a:ext cx="231147" cy="205087"/>
            </a:xfrm>
            <a:custGeom>
              <a:avLst/>
              <a:gdLst>
                <a:gd name="T0" fmla="*/ 550 w 570"/>
                <a:gd name="T1" fmla="*/ 406 h 524"/>
                <a:gd name="T2" fmla="*/ 397 w 570"/>
                <a:gd name="T3" fmla="*/ 305 h 524"/>
                <a:gd name="T4" fmla="*/ 395 w 570"/>
                <a:gd name="T5" fmla="*/ 304 h 524"/>
                <a:gd name="T6" fmla="*/ 418 w 570"/>
                <a:gd name="T7" fmla="*/ 209 h 524"/>
                <a:gd name="T8" fmla="*/ 209 w 570"/>
                <a:gd name="T9" fmla="*/ 0 h 524"/>
                <a:gd name="T10" fmla="*/ 0 w 570"/>
                <a:gd name="T11" fmla="*/ 209 h 524"/>
                <a:gd name="T12" fmla="*/ 209 w 570"/>
                <a:gd name="T13" fmla="*/ 418 h 524"/>
                <a:gd name="T14" fmla="*/ 336 w 570"/>
                <a:gd name="T15" fmla="*/ 375 h 524"/>
                <a:gd name="T16" fmla="*/ 337 w 570"/>
                <a:gd name="T17" fmla="*/ 376 h 524"/>
                <a:gd name="T18" fmla="*/ 464 w 570"/>
                <a:gd name="T19" fmla="*/ 510 h 524"/>
                <a:gd name="T20" fmla="*/ 520 w 570"/>
                <a:gd name="T21" fmla="*/ 505 h 524"/>
                <a:gd name="T22" fmla="*/ 556 w 570"/>
                <a:gd name="T23" fmla="*/ 462 h 524"/>
                <a:gd name="T24" fmla="*/ 550 w 570"/>
                <a:gd name="T25" fmla="*/ 406 h 524"/>
                <a:gd name="T26" fmla="*/ 209 w 570"/>
                <a:gd name="T27" fmla="*/ 364 h 524"/>
                <a:gd name="T28" fmla="*/ 54 w 570"/>
                <a:gd name="T29" fmla="*/ 209 h 524"/>
                <a:gd name="T30" fmla="*/ 209 w 570"/>
                <a:gd name="T31" fmla="*/ 54 h 524"/>
                <a:gd name="T32" fmla="*/ 364 w 570"/>
                <a:gd name="T33" fmla="*/ 209 h 524"/>
                <a:gd name="T34" fmla="*/ 209 w 570"/>
                <a:gd name="T35" fmla="*/ 36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0" h="524">
                  <a:moveTo>
                    <a:pt x="550" y="406"/>
                  </a:moveTo>
                  <a:cubicBezTo>
                    <a:pt x="397" y="305"/>
                    <a:pt x="397" y="305"/>
                    <a:pt x="397" y="305"/>
                  </a:cubicBezTo>
                  <a:cubicBezTo>
                    <a:pt x="396" y="305"/>
                    <a:pt x="396" y="304"/>
                    <a:pt x="395" y="304"/>
                  </a:cubicBezTo>
                  <a:cubicBezTo>
                    <a:pt x="410" y="276"/>
                    <a:pt x="418" y="243"/>
                    <a:pt x="418" y="209"/>
                  </a:cubicBezTo>
                  <a:cubicBezTo>
                    <a:pt x="418" y="94"/>
                    <a:pt x="324" y="0"/>
                    <a:pt x="209" y="0"/>
                  </a:cubicBezTo>
                  <a:cubicBezTo>
                    <a:pt x="94" y="0"/>
                    <a:pt x="0" y="94"/>
                    <a:pt x="0" y="209"/>
                  </a:cubicBezTo>
                  <a:cubicBezTo>
                    <a:pt x="0" y="324"/>
                    <a:pt x="94" y="418"/>
                    <a:pt x="209" y="418"/>
                  </a:cubicBezTo>
                  <a:cubicBezTo>
                    <a:pt x="257" y="418"/>
                    <a:pt x="301" y="402"/>
                    <a:pt x="336" y="375"/>
                  </a:cubicBezTo>
                  <a:cubicBezTo>
                    <a:pt x="336" y="375"/>
                    <a:pt x="337" y="376"/>
                    <a:pt x="337" y="376"/>
                  </a:cubicBezTo>
                  <a:cubicBezTo>
                    <a:pt x="464" y="510"/>
                    <a:pt x="464" y="510"/>
                    <a:pt x="464" y="510"/>
                  </a:cubicBezTo>
                  <a:cubicBezTo>
                    <a:pt x="481" y="524"/>
                    <a:pt x="506" y="522"/>
                    <a:pt x="520" y="505"/>
                  </a:cubicBezTo>
                  <a:cubicBezTo>
                    <a:pt x="556" y="462"/>
                    <a:pt x="556" y="462"/>
                    <a:pt x="556" y="462"/>
                  </a:cubicBezTo>
                  <a:cubicBezTo>
                    <a:pt x="570" y="445"/>
                    <a:pt x="567" y="420"/>
                    <a:pt x="550" y="406"/>
                  </a:cubicBezTo>
                  <a:close/>
                  <a:moveTo>
                    <a:pt x="209" y="364"/>
                  </a:moveTo>
                  <a:cubicBezTo>
                    <a:pt x="123" y="364"/>
                    <a:pt x="54" y="295"/>
                    <a:pt x="54" y="209"/>
                  </a:cubicBezTo>
                  <a:cubicBezTo>
                    <a:pt x="54" y="124"/>
                    <a:pt x="123" y="54"/>
                    <a:pt x="209" y="54"/>
                  </a:cubicBezTo>
                  <a:cubicBezTo>
                    <a:pt x="295" y="54"/>
                    <a:pt x="364" y="124"/>
                    <a:pt x="364" y="209"/>
                  </a:cubicBezTo>
                  <a:cubicBezTo>
                    <a:pt x="364" y="295"/>
                    <a:pt x="295" y="364"/>
                    <a:pt x="209" y="36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a:ln>
                  <a:noFill/>
                </a:ln>
                <a:solidFill>
                  <a:srgbClr val="000000"/>
                </a:solidFill>
                <a:effectLst/>
                <a:uLnTx/>
                <a:uFillTx/>
                <a:latin typeface="Arial" charset="0"/>
                <a:ea typeface="+mn-ea"/>
                <a:cs typeface="+mn-cs"/>
              </a:endParaRPr>
            </a:p>
          </p:txBody>
        </p:sp>
      </p:grpSp>
      <p:grpSp>
        <p:nvGrpSpPr>
          <p:cNvPr id="226" name="Group 225">
            <a:extLst>
              <a:ext uri="{FF2B5EF4-FFF2-40B4-BE49-F238E27FC236}">
                <a16:creationId xmlns:a16="http://schemas.microsoft.com/office/drawing/2014/main" id="{943408FF-F053-A9FC-84BD-137699D5F4BB}"/>
              </a:ext>
            </a:extLst>
          </p:cNvPr>
          <p:cNvGrpSpPr/>
          <p:nvPr/>
        </p:nvGrpSpPr>
        <p:grpSpPr>
          <a:xfrm>
            <a:off x="5713706" y="1094902"/>
            <a:ext cx="170146" cy="178230"/>
            <a:chOff x="5673258" y="927146"/>
            <a:chExt cx="251042" cy="262970"/>
          </a:xfrm>
        </p:grpSpPr>
        <p:sp>
          <p:nvSpPr>
            <p:cNvPr id="200" name="Freeform 14">
              <a:extLst>
                <a:ext uri="{FF2B5EF4-FFF2-40B4-BE49-F238E27FC236}">
                  <a16:creationId xmlns:a16="http://schemas.microsoft.com/office/drawing/2014/main" id="{B4D6C3E5-B795-F5CF-D267-F01672A5985E}"/>
                </a:ext>
              </a:extLst>
            </p:cNvPr>
            <p:cNvSpPr>
              <a:spLocks noEditPoints="1"/>
            </p:cNvSpPr>
            <p:nvPr/>
          </p:nvSpPr>
          <p:spPr bwMode="auto">
            <a:xfrm>
              <a:off x="5785978" y="927146"/>
              <a:ext cx="128800" cy="125036"/>
            </a:xfrm>
            <a:custGeom>
              <a:avLst/>
              <a:gdLst>
                <a:gd name="T0" fmla="*/ 203 w 203"/>
                <a:gd name="T1" fmla="*/ 121 h 204"/>
                <a:gd name="T2" fmla="*/ 203 w 203"/>
                <a:gd name="T3" fmla="*/ 83 h 204"/>
                <a:gd name="T4" fmla="*/ 177 w 203"/>
                <a:gd name="T5" fmla="*/ 79 h 204"/>
                <a:gd name="T6" fmla="*/ 171 w 203"/>
                <a:gd name="T7" fmla="*/ 66 h 204"/>
                <a:gd name="T8" fmla="*/ 187 w 203"/>
                <a:gd name="T9" fmla="*/ 44 h 204"/>
                <a:gd name="T10" fmla="*/ 160 w 203"/>
                <a:gd name="T11" fmla="*/ 17 h 204"/>
                <a:gd name="T12" fmla="*/ 138 w 203"/>
                <a:gd name="T13" fmla="*/ 32 h 204"/>
                <a:gd name="T14" fmla="*/ 125 w 203"/>
                <a:gd name="T15" fmla="*/ 27 h 204"/>
                <a:gd name="T16" fmla="*/ 120 w 203"/>
                <a:gd name="T17" fmla="*/ 0 h 204"/>
                <a:gd name="T18" fmla="*/ 83 w 203"/>
                <a:gd name="T19" fmla="*/ 0 h 204"/>
                <a:gd name="T20" fmla="*/ 78 w 203"/>
                <a:gd name="T21" fmla="*/ 27 h 204"/>
                <a:gd name="T22" fmla="*/ 65 w 203"/>
                <a:gd name="T23" fmla="*/ 32 h 204"/>
                <a:gd name="T24" fmla="*/ 43 w 203"/>
                <a:gd name="T25" fmla="*/ 17 h 204"/>
                <a:gd name="T26" fmla="*/ 16 w 203"/>
                <a:gd name="T27" fmla="*/ 44 h 204"/>
                <a:gd name="T28" fmla="*/ 32 w 203"/>
                <a:gd name="T29" fmla="*/ 66 h 204"/>
                <a:gd name="T30" fmla="*/ 27 w 203"/>
                <a:gd name="T31" fmla="*/ 79 h 204"/>
                <a:gd name="T32" fmla="*/ 0 w 203"/>
                <a:gd name="T33" fmla="*/ 83 h 204"/>
                <a:gd name="T34" fmla="*/ 0 w 203"/>
                <a:gd name="T35" fmla="*/ 121 h 204"/>
                <a:gd name="T36" fmla="*/ 27 w 203"/>
                <a:gd name="T37" fmla="*/ 125 h 204"/>
                <a:gd name="T38" fmla="*/ 32 w 203"/>
                <a:gd name="T39" fmla="*/ 139 h 204"/>
                <a:gd name="T40" fmla="*/ 16 w 203"/>
                <a:gd name="T41" fmla="*/ 161 h 204"/>
                <a:gd name="T42" fmla="*/ 43 w 203"/>
                <a:gd name="T43" fmla="*/ 187 h 204"/>
                <a:gd name="T44" fmla="*/ 65 w 203"/>
                <a:gd name="T45" fmla="*/ 172 h 204"/>
                <a:gd name="T46" fmla="*/ 78 w 203"/>
                <a:gd name="T47" fmla="*/ 177 h 204"/>
                <a:gd name="T48" fmla="*/ 83 w 203"/>
                <a:gd name="T49" fmla="*/ 204 h 204"/>
                <a:gd name="T50" fmla="*/ 120 w 203"/>
                <a:gd name="T51" fmla="*/ 204 h 204"/>
                <a:gd name="T52" fmla="*/ 125 w 203"/>
                <a:gd name="T53" fmla="*/ 177 h 204"/>
                <a:gd name="T54" fmla="*/ 138 w 203"/>
                <a:gd name="T55" fmla="*/ 172 h 204"/>
                <a:gd name="T56" fmla="*/ 160 w 203"/>
                <a:gd name="T57" fmla="*/ 187 h 204"/>
                <a:gd name="T58" fmla="*/ 187 w 203"/>
                <a:gd name="T59" fmla="*/ 161 h 204"/>
                <a:gd name="T60" fmla="*/ 171 w 203"/>
                <a:gd name="T61" fmla="*/ 139 h 204"/>
                <a:gd name="T62" fmla="*/ 177 w 203"/>
                <a:gd name="T63" fmla="*/ 125 h 204"/>
                <a:gd name="T64" fmla="*/ 203 w 203"/>
                <a:gd name="T65" fmla="*/ 121 h 204"/>
                <a:gd name="T66" fmla="*/ 102 w 203"/>
                <a:gd name="T67" fmla="*/ 136 h 204"/>
                <a:gd name="T68" fmla="*/ 68 w 203"/>
                <a:gd name="T69" fmla="*/ 102 h 204"/>
                <a:gd name="T70" fmla="*/ 102 w 203"/>
                <a:gd name="T71" fmla="*/ 69 h 204"/>
                <a:gd name="T72" fmla="*/ 135 w 203"/>
                <a:gd name="T73" fmla="*/ 102 h 204"/>
                <a:gd name="T74" fmla="*/ 102 w 203"/>
                <a:gd name="T75" fmla="*/ 13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3" h="204">
                  <a:moveTo>
                    <a:pt x="203" y="121"/>
                  </a:moveTo>
                  <a:cubicBezTo>
                    <a:pt x="203" y="83"/>
                    <a:pt x="203" y="83"/>
                    <a:pt x="203" y="83"/>
                  </a:cubicBezTo>
                  <a:cubicBezTo>
                    <a:pt x="177" y="79"/>
                    <a:pt x="177" y="79"/>
                    <a:pt x="177" y="79"/>
                  </a:cubicBezTo>
                  <a:cubicBezTo>
                    <a:pt x="175" y="74"/>
                    <a:pt x="173" y="70"/>
                    <a:pt x="171" y="66"/>
                  </a:cubicBezTo>
                  <a:cubicBezTo>
                    <a:pt x="187" y="44"/>
                    <a:pt x="187" y="44"/>
                    <a:pt x="187" y="44"/>
                  </a:cubicBezTo>
                  <a:cubicBezTo>
                    <a:pt x="160" y="17"/>
                    <a:pt x="160" y="17"/>
                    <a:pt x="160" y="17"/>
                  </a:cubicBezTo>
                  <a:cubicBezTo>
                    <a:pt x="138" y="32"/>
                    <a:pt x="138" y="32"/>
                    <a:pt x="138" y="32"/>
                  </a:cubicBezTo>
                  <a:cubicBezTo>
                    <a:pt x="134" y="30"/>
                    <a:pt x="130" y="28"/>
                    <a:pt x="125" y="27"/>
                  </a:cubicBezTo>
                  <a:cubicBezTo>
                    <a:pt x="120" y="0"/>
                    <a:pt x="120" y="0"/>
                    <a:pt x="120" y="0"/>
                  </a:cubicBezTo>
                  <a:cubicBezTo>
                    <a:pt x="83" y="0"/>
                    <a:pt x="83" y="0"/>
                    <a:pt x="83" y="0"/>
                  </a:cubicBezTo>
                  <a:cubicBezTo>
                    <a:pt x="78" y="27"/>
                    <a:pt x="78" y="27"/>
                    <a:pt x="78" y="27"/>
                  </a:cubicBezTo>
                  <a:cubicBezTo>
                    <a:pt x="74" y="28"/>
                    <a:pt x="69" y="30"/>
                    <a:pt x="65" y="32"/>
                  </a:cubicBezTo>
                  <a:cubicBezTo>
                    <a:pt x="43" y="17"/>
                    <a:pt x="43" y="17"/>
                    <a:pt x="43" y="17"/>
                  </a:cubicBezTo>
                  <a:cubicBezTo>
                    <a:pt x="16" y="44"/>
                    <a:pt x="16" y="44"/>
                    <a:pt x="16" y="44"/>
                  </a:cubicBezTo>
                  <a:cubicBezTo>
                    <a:pt x="32" y="66"/>
                    <a:pt x="32" y="66"/>
                    <a:pt x="32" y="66"/>
                  </a:cubicBezTo>
                  <a:cubicBezTo>
                    <a:pt x="30" y="70"/>
                    <a:pt x="28" y="74"/>
                    <a:pt x="27" y="79"/>
                  </a:cubicBezTo>
                  <a:cubicBezTo>
                    <a:pt x="0" y="83"/>
                    <a:pt x="0" y="83"/>
                    <a:pt x="0" y="83"/>
                  </a:cubicBezTo>
                  <a:cubicBezTo>
                    <a:pt x="0" y="121"/>
                    <a:pt x="0" y="121"/>
                    <a:pt x="0" y="121"/>
                  </a:cubicBezTo>
                  <a:cubicBezTo>
                    <a:pt x="27" y="125"/>
                    <a:pt x="27" y="125"/>
                    <a:pt x="27" y="125"/>
                  </a:cubicBezTo>
                  <a:cubicBezTo>
                    <a:pt x="28" y="130"/>
                    <a:pt x="30" y="134"/>
                    <a:pt x="32" y="139"/>
                  </a:cubicBezTo>
                  <a:cubicBezTo>
                    <a:pt x="16" y="161"/>
                    <a:pt x="16" y="161"/>
                    <a:pt x="16" y="161"/>
                  </a:cubicBezTo>
                  <a:cubicBezTo>
                    <a:pt x="43" y="187"/>
                    <a:pt x="43" y="187"/>
                    <a:pt x="43" y="187"/>
                  </a:cubicBezTo>
                  <a:cubicBezTo>
                    <a:pt x="65" y="172"/>
                    <a:pt x="65" y="172"/>
                    <a:pt x="65" y="172"/>
                  </a:cubicBezTo>
                  <a:cubicBezTo>
                    <a:pt x="69" y="174"/>
                    <a:pt x="74" y="176"/>
                    <a:pt x="78" y="177"/>
                  </a:cubicBezTo>
                  <a:cubicBezTo>
                    <a:pt x="83" y="204"/>
                    <a:pt x="83" y="204"/>
                    <a:pt x="83" y="204"/>
                  </a:cubicBezTo>
                  <a:cubicBezTo>
                    <a:pt x="120" y="204"/>
                    <a:pt x="120" y="204"/>
                    <a:pt x="120" y="204"/>
                  </a:cubicBezTo>
                  <a:cubicBezTo>
                    <a:pt x="125" y="177"/>
                    <a:pt x="125" y="177"/>
                    <a:pt x="125" y="177"/>
                  </a:cubicBezTo>
                  <a:cubicBezTo>
                    <a:pt x="130" y="176"/>
                    <a:pt x="134" y="174"/>
                    <a:pt x="138" y="172"/>
                  </a:cubicBezTo>
                  <a:cubicBezTo>
                    <a:pt x="160" y="187"/>
                    <a:pt x="160" y="187"/>
                    <a:pt x="160" y="187"/>
                  </a:cubicBezTo>
                  <a:cubicBezTo>
                    <a:pt x="187" y="161"/>
                    <a:pt x="187" y="161"/>
                    <a:pt x="187" y="161"/>
                  </a:cubicBezTo>
                  <a:cubicBezTo>
                    <a:pt x="171" y="139"/>
                    <a:pt x="171" y="139"/>
                    <a:pt x="171" y="139"/>
                  </a:cubicBezTo>
                  <a:cubicBezTo>
                    <a:pt x="173" y="134"/>
                    <a:pt x="175" y="130"/>
                    <a:pt x="177" y="125"/>
                  </a:cubicBezTo>
                  <a:lnTo>
                    <a:pt x="203" y="121"/>
                  </a:lnTo>
                  <a:close/>
                  <a:moveTo>
                    <a:pt x="102" y="136"/>
                  </a:moveTo>
                  <a:cubicBezTo>
                    <a:pt x="83" y="136"/>
                    <a:pt x="68" y="121"/>
                    <a:pt x="68" y="102"/>
                  </a:cubicBezTo>
                  <a:cubicBezTo>
                    <a:pt x="68" y="84"/>
                    <a:pt x="83" y="69"/>
                    <a:pt x="102" y="69"/>
                  </a:cubicBezTo>
                  <a:cubicBezTo>
                    <a:pt x="120" y="69"/>
                    <a:pt x="135" y="84"/>
                    <a:pt x="135" y="102"/>
                  </a:cubicBezTo>
                  <a:cubicBezTo>
                    <a:pt x="135" y="121"/>
                    <a:pt x="120" y="136"/>
                    <a:pt x="102" y="13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a:ln>
                  <a:noFill/>
                </a:ln>
                <a:solidFill>
                  <a:srgbClr val="000000"/>
                </a:solidFill>
                <a:effectLst/>
                <a:uLnTx/>
                <a:uFillTx/>
                <a:latin typeface="Arial" charset="0"/>
                <a:ea typeface="+mn-ea"/>
                <a:cs typeface="+mn-cs"/>
              </a:endParaRPr>
            </a:p>
          </p:txBody>
        </p:sp>
        <p:sp>
          <p:nvSpPr>
            <p:cNvPr id="94" name="Freeform 72">
              <a:extLst>
                <a:ext uri="{FF2B5EF4-FFF2-40B4-BE49-F238E27FC236}">
                  <a16:creationId xmlns:a16="http://schemas.microsoft.com/office/drawing/2014/main" id="{3EC4BB4C-2CE7-0E77-FC10-1965F57782C5}"/>
                </a:ext>
              </a:extLst>
            </p:cNvPr>
            <p:cNvSpPr>
              <a:spLocks/>
            </p:cNvSpPr>
            <p:nvPr/>
          </p:nvSpPr>
          <p:spPr bwMode="auto">
            <a:xfrm>
              <a:off x="5673258" y="1061500"/>
              <a:ext cx="251042" cy="128616"/>
            </a:xfrm>
            <a:custGeom>
              <a:avLst/>
              <a:gdLst>
                <a:gd name="T0" fmla="*/ 17837 w 19529"/>
                <a:gd name="T1" fmla="*/ 367 h 10315"/>
                <a:gd name="T2" fmla="*/ 14525 w 19529"/>
                <a:gd name="T3" fmla="*/ 3687 h 10315"/>
                <a:gd name="T4" fmla="*/ 9377 w 19529"/>
                <a:gd name="T5" fmla="*/ 3687 h 10315"/>
                <a:gd name="T6" fmla="*/ 9190 w 19529"/>
                <a:gd name="T7" fmla="*/ 3499 h 10315"/>
                <a:gd name="T8" fmla="*/ 9190 w 19529"/>
                <a:gd name="T9" fmla="*/ 3311 h 10315"/>
                <a:gd name="T10" fmla="*/ 9377 w 19529"/>
                <a:gd name="T11" fmla="*/ 3123 h 10315"/>
                <a:gd name="T12" fmla="*/ 12406 w 19529"/>
                <a:gd name="T13" fmla="*/ 3123 h 10315"/>
                <a:gd name="T14" fmla="*/ 13344 w 19529"/>
                <a:gd name="T15" fmla="*/ 2183 h 10315"/>
                <a:gd name="T16" fmla="*/ 12406 w 19529"/>
                <a:gd name="T17" fmla="*/ 1243 h 10315"/>
                <a:gd name="T18" fmla="*/ 5021 w 19529"/>
                <a:gd name="T19" fmla="*/ 1243 h 10315"/>
                <a:gd name="T20" fmla="*/ 4358 w 19529"/>
                <a:gd name="T21" fmla="*/ 1518 h 10315"/>
                <a:gd name="T22" fmla="*/ 280 w 19529"/>
                <a:gd name="T23" fmla="*/ 5608 h 10315"/>
                <a:gd name="T24" fmla="*/ 5 w 19529"/>
                <a:gd name="T25" fmla="*/ 6291 h 10315"/>
                <a:gd name="T26" fmla="*/ 7 w 19529"/>
                <a:gd name="T27" fmla="*/ 9424 h 10315"/>
                <a:gd name="T28" fmla="*/ 279 w 19529"/>
                <a:gd name="T29" fmla="*/ 10040 h 10315"/>
                <a:gd name="T30" fmla="*/ 942 w 19529"/>
                <a:gd name="T31" fmla="*/ 10315 h 10315"/>
                <a:gd name="T32" fmla="*/ 1606 w 19529"/>
                <a:gd name="T33" fmla="*/ 10040 h 10315"/>
                <a:gd name="T34" fmla="*/ 5410 w 19529"/>
                <a:gd name="T35" fmla="*/ 6226 h 10315"/>
                <a:gd name="T36" fmla="*/ 14257 w 19529"/>
                <a:gd name="T37" fmla="*/ 6226 h 10315"/>
                <a:gd name="T38" fmla="*/ 14920 w 19529"/>
                <a:gd name="T39" fmla="*/ 5951 h 10315"/>
                <a:gd name="T40" fmla="*/ 19163 w 19529"/>
                <a:gd name="T41" fmla="*/ 1697 h 10315"/>
                <a:gd name="T42" fmla="*/ 19163 w 19529"/>
                <a:gd name="T43" fmla="*/ 367 h 10315"/>
                <a:gd name="T44" fmla="*/ 17837 w 19529"/>
                <a:gd name="T45" fmla="*/ 367 h 10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529" h="10315">
                  <a:moveTo>
                    <a:pt x="17837" y="367"/>
                  </a:moveTo>
                  <a:lnTo>
                    <a:pt x="14525" y="3687"/>
                  </a:lnTo>
                  <a:lnTo>
                    <a:pt x="9377" y="3687"/>
                  </a:lnTo>
                  <a:cubicBezTo>
                    <a:pt x="9274" y="3687"/>
                    <a:pt x="9190" y="3603"/>
                    <a:pt x="9190" y="3499"/>
                  </a:cubicBezTo>
                  <a:lnTo>
                    <a:pt x="9190" y="3311"/>
                  </a:lnTo>
                  <a:cubicBezTo>
                    <a:pt x="9190" y="3207"/>
                    <a:pt x="9274" y="3123"/>
                    <a:pt x="9377" y="3123"/>
                  </a:cubicBezTo>
                  <a:lnTo>
                    <a:pt x="12406" y="3123"/>
                  </a:lnTo>
                  <a:cubicBezTo>
                    <a:pt x="12924" y="3123"/>
                    <a:pt x="13344" y="2702"/>
                    <a:pt x="13344" y="2183"/>
                  </a:cubicBezTo>
                  <a:cubicBezTo>
                    <a:pt x="13344" y="1664"/>
                    <a:pt x="12924" y="1243"/>
                    <a:pt x="12406" y="1243"/>
                  </a:cubicBezTo>
                  <a:lnTo>
                    <a:pt x="5021" y="1243"/>
                  </a:lnTo>
                  <a:cubicBezTo>
                    <a:pt x="4773" y="1243"/>
                    <a:pt x="4534" y="1342"/>
                    <a:pt x="4358" y="1518"/>
                  </a:cubicBezTo>
                  <a:lnTo>
                    <a:pt x="280" y="5608"/>
                  </a:lnTo>
                  <a:cubicBezTo>
                    <a:pt x="92" y="5796"/>
                    <a:pt x="0" y="6045"/>
                    <a:pt x="5" y="6291"/>
                  </a:cubicBezTo>
                  <a:cubicBezTo>
                    <a:pt x="9" y="6463"/>
                    <a:pt x="1" y="9296"/>
                    <a:pt x="7" y="9424"/>
                  </a:cubicBezTo>
                  <a:cubicBezTo>
                    <a:pt x="18" y="9648"/>
                    <a:pt x="109" y="9869"/>
                    <a:pt x="279" y="10040"/>
                  </a:cubicBezTo>
                  <a:cubicBezTo>
                    <a:pt x="462" y="10223"/>
                    <a:pt x="702" y="10315"/>
                    <a:pt x="942" y="10315"/>
                  </a:cubicBezTo>
                  <a:cubicBezTo>
                    <a:pt x="1182" y="10315"/>
                    <a:pt x="1422" y="10223"/>
                    <a:pt x="1606" y="10040"/>
                  </a:cubicBezTo>
                  <a:lnTo>
                    <a:pt x="5410" y="6226"/>
                  </a:lnTo>
                  <a:lnTo>
                    <a:pt x="14257" y="6226"/>
                  </a:lnTo>
                  <a:cubicBezTo>
                    <a:pt x="14506" y="6226"/>
                    <a:pt x="14744" y="6127"/>
                    <a:pt x="14920" y="5951"/>
                  </a:cubicBezTo>
                  <a:lnTo>
                    <a:pt x="19163" y="1697"/>
                  </a:lnTo>
                  <a:cubicBezTo>
                    <a:pt x="19529" y="1329"/>
                    <a:pt x="19529" y="734"/>
                    <a:pt x="19163" y="367"/>
                  </a:cubicBezTo>
                  <a:cubicBezTo>
                    <a:pt x="18797" y="0"/>
                    <a:pt x="18203" y="0"/>
                    <a:pt x="17837" y="367"/>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charset="0"/>
                <a:ea typeface="+mn-ea"/>
                <a:cs typeface="+mn-cs"/>
              </a:endParaRPr>
            </a:p>
          </p:txBody>
        </p:sp>
      </p:grpSp>
      <p:sp>
        <p:nvSpPr>
          <p:cNvPr id="72" name="Title 1">
            <a:extLst>
              <a:ext uri="{FF2B5EF4-FFF2-40B4-BE49-F238E27FC236}">
                <a16:creationId xmlns:a16="http://schemas.microsoft.com/office/drawing/2014/main" id="{8B17E0AE-8764-7A79-74F7-FFF17D50D85F}"/>
              </a:ext>
            </a:extLst>
          </p:cNvPr>
          <p:cNvSpPr>
            <a:spLocks noGrp="1"/>
          </p:cNvSpPr>
          <p:nvPr>
            <p:ph type="title"/>
          </p:nvPr>
        </p:nvSpPr>
        <p:spPr bwMode="gray">
          <a:xfrm>
            <a:off x="0" y="0"/>
            <a:ext cx="12191979" cy="1292630"/>
          </a:xfrm>
          <a:prstGeom prst="rect">
            <a:avLst/>
          </a:prstGeom>
          <a:solidFill>
            <a:srgbClr val="002576"/>
          </a:solidFill>
          <a:ln>
            <a:noFill/>
          </a:ln>
          <a:effectLst/>
        </p:spPr>
        <p:txBody>
          <a:bodyPr vert="horz" wrap="square" lIns="91440" tIns="45720" rIns="91440" bIns="45720" numCol="1" rtlCol="0" anchor="ctr" anchorCtr="0" compatLnSpc="1">
            <a:prstTxWarp prst="textNoShape">
              <a:avLst/>
            </a:prstTxWarp>
            <a:noAutofit/>
          </a:bodyPr>
          <a:lstStyle/>
          <a:p>
            <a:pPr algn="ctr" defTabSz="457200">
              <a:spcAft>
                <a:spcPts val="0"/>
              </a:spcAft>
              <a:tabLst/>
            </a:pPr>
            <a:r>
              <a:rPr lang="en-US" sz="2800" dirty="0">
                <a:solidFill>
                  <a:schemeClr val="bg1"/>
                </a:solidFill>
                <a:latin typeface="Arial Black"/>
              </a:rPr>
              <a:t>112 Eagle Street, Marshall</a:t>
            </a:r>
          </a:p>
        </p:txBody>
      </p:sp>
      <p:sp>
        <p:nvSpPr>
          <p:cNvPr id="4" name="Rectangle 3" hidden="1">
            <a:extLst>
              <a:ext uri="{FF2B5EF4-FFF2-40B4-BE49-F238E27FC236}">
                <a16:creationId xmlns:a16="http://schemas.microsoft.com/office/drawing/2014/main" id="{7C1126CC-CD32-BBC6-363A-2F1DEAFC417F}"/>
              </a:ext>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9" name="Rectangle 8">
            <a:extLst>
              <a:ext uri="{FF2B5EF4-FFF2-40B4-BE49-F238E27FC236}">
                <a16:creationId xmlns:a16="http://schemas.microsoft.com/office/drawing/2014/main" id="{B4BE87F9-51F2-007E-5773-6D8E72E1FFDF}"/>
              </a:ext>
            </a:extLst>
          </p:cNvPr>
          <p:cNvSpPr/>
          <p:nvPr/>
        </p:nvSpPr>
        <p:spPr>
          <a:xfrm>
            <a:off x="10883" y="1291012"/>
            <a:ext cx="12192000" cy="87733"/>
          </a:xfrm>
          <a:prstGeom prst="rect">
            <a:avLst/>
          </a:prstGeom>
          <a:solidFill>
            <a:srgbClr val="9CCF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11" name="Picture 10" descr="A white van parked in front of a brick building&#10;&#10;AI-generated content may be incorrect.">
            <a:extLst>
              <a:ext uri="{FF2B5EF4-FFF2-40B4-BE49-F238E27FC236}">
                <a16:creationId xmlns:a16="http://schemas.microsoft.com/office/drawing/2014/main" id="{CEE4B769-BE0A-2E5C-0601-8ED84D58D5C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798779" y="1795417"/>
            <a:ext cx="6170023" cy="4627517"/>
          </a:xfrm>
          <a:prstGeom prst="rect">
            <a:avLst/>
          </a:prstGeom>
          <a:effectLst>
            <a:outerShdw blurRad="50800" dist="38100" dir="8100000" algn="tr" rotWithShape="0">
              <a:prstClr val="black">
                <a:alpha val="40000"/>
              </a:prstClr>
            </a:outerShdw>
          </a:effectLst>
        </p:spPr>
      </p:pic>
      <p:pic>
        <p:nvPicPr>
          <p:cNvPr id="13" name="Picture 12" descr="A picture containing outdoor, building, street, green&#10;&#10;AI-generated content may be incorrect.">
            <a:extLst>
              <a:ext uri="{FF2B5EF4-FFF2-40B4-BE49-F238E27FC236}">
                <a16:creationId xmlns:a16="http://schemas.microsoft.com/office/drawing/2014/main" id="{6E07C167-EF17-B99E-4763-7A3D42EFD10F}"/>
              </a:ext>
            </a:extLst>
          </p:cNvPr>
          <p:cNvPicPr>
            <a:picLocks noChangeAspect="1"/>
          </p:cNvPicPr>
          <p:nvPr/>
        </p:nvPicPr>
        <p:blipFill>
          <a:blip r:embed="rId8">
            <a:extLst>
              <a:ext uri="{28A0092B-C50C-407E-A947-70E740481C1C}">
                <a14:useLocalDpi xmlns:a14="http://schemas.microsoft.com/office/drawing/2010/main" val="0"/>
              </a:ext>
            </a:extLst>
          </a:blip>
          <a:srcRect l="16951" r="15489" b="35377"/>
          <a:stretch/>
        </p:blipFill>
        <p:spPr>
          <a:xfrm>
            <a:off x="137157" y="2478591"/>
            <a:ext cx="6061166" cy="3261170"/>
          </a:xfrm>
          <a:prstGeom prst="rect">
            <a:avLst/>
          </a:prstGeom>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35236207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85EC2BE-39C5-5822-C00B-2BFD671CECBB}"/>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0F7647E-EB38-D77E-7162-896C276782C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10F7647E-EB38-D77E-7162-896C276782C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4EA38954-542F-321A-8DFB-38A3D9E85653}"/>
              </a:ext>
            </a:extLst>
          </p:cNvPr>
          <p:cNvGrpSpPr/>
          <p:nvPr/>
        </p:nvGrpSpPr>
        <p:grpSpPr>
          <a:xfrm>
            <a:off x="11660635" y="1104552"/>
            <a:ext cx="144734" cy="128417"/>
            <a:chOff x="11633817" y="1102402"/>
            <a:chExt cx="231147" cy="205087"/>
          </a:xfrm>
        </p:grpSpPr>
        <p:sp>
          <p:nvSpPr>
            <p:cNvPr id="151" name="Freeform 19">
              <a:extLst>
                <a:ext uri="{FF2B5EF4-FFF2-40B4-BE49-F238E27FC236}">
                  <a16:creationId xmlns:a16="http://schemas.microsoft.com/office/drawing/2014/main" id="{45566115-D6A3-CDBB-1494-32B3E4F0ECA0}"/>
                </a:ext>
              </a:extLst>
            </p:cNvPr>
            <p:cNvSpPr>
              <a:spLocks/>
            </p:cNvSpPr>
            <p:nvPr/>
          </p:nvSpPr>
          <p:spPr bwMode="auto">
            <a:xfrm>
              <a:off x="11676657" y="1169876"/>
              <a:ext cx="83691" cy="29778"/>
            </a:xfrm>
            <a:custGeom>
              <a:avLst/>
              <a:gdLst>
                <a:gd name="T0" fmla="*/ 107 w 206"/>
                <a:gd name="T1" fmla="*/ 77 h 77"/>
                <a:gd name="T2" fmla="*/ 107 w 206"/>
                <a:gd name="T3" fmla="*/ 77 h 77"/>
                <a:gd name="T4" fmla="*/ 106 w 206"/>
                <a:gd name="T5" fmla="*/ 77 h 77"/>
                <a:gd name="T6" fmla="*/ 5 w 206"/>
                <a:gd name="T7" fmla="*/ 26 h 77"/>
                <a:gd name="T8" fmla="*/ 8 w 206"/>
                <a:gd name="T9" fmla="*/ 5 h 77"/>
                <a:gd name="T10" fmla="*/ 29 w 206"/>
                <a:gd name="T11" fmla="*/ 8 h 77"/>
                <a:gd name="T12" fmla="*/ 107 w 206"/>
                <a:gd name="T13" fmla="*/ 46 h 77"/>
                <a:gd name="T14" fmla="*/ 177 w 206"/>
                <a:gd name="T15" fmla="*/ 7 h 77"/>
                <a:gd name="T16" fmla="*/ 199 w 206"/>
                <a:gd name="T17" fmla="*/ 5 h 77"/>
                <a:gd name="T18" fmla="*/ 201 w 206"/>
                <a:gd name="T19" fmla="*/ 26 h 77"/>
                <a:gd name="T20" fmla="*/ 107 w 206"/>
                <a:gd name="T21"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6" h="77">
                  <a:moveTo>
                    <a:pt x="107" y="77"/>
                  </a:moveTo>
                  <a:cubicBezTo>
                    <a:pt x="107" y="77"/>
                    <a:pt x="107" y="77"/>
                    <a:pt x="107" y="77"/>
                  </a:cubicBezTo>
                  <a:cubicBezTo>
                    <a:pt x="106" y="77"/>
                    <a:pt x="106" y="77"/>
                    <a:pt x="106" y="77"/>
                  </a:cubicBezTo>
                  <a:cubicBezTo>
                    <a:pt x="52" y="74"/>
                    <a:pt x="13" y="36"/>
                    <a:pt x="5" y="26"/>
                  </a:cubicBezTo>
                  <a:cubicBezTo>
                    <a:pt x="0" y="19"/>
                    <a:pt x="1" y="10"/>
                    <a:pt x="8" y="5"/>
                  </a:cubicBezTo>
                  <a:cubicBezTo>
                    <a:pt x="15" y="0"/>
                    <a:pt x="24" y="1"/>
                    <a:pt x="29" y="8"/>
                  </a:cubicBezTo>
                  <a:cubicBezTo>
                    <a:pt x="34" y="14"/>
                    <a:pt x="66" y="44"/>
                    <a:pt x="107" y="46"/>
                  </a:cubicBezTo>
                  <a:cubicBezTo>
                    <a:pt x="145" y="46"/>
                    <a:pt x="177" y="8"/>
                    <a:pt x="177" y="7"/>
                  </a:cubicBezTo>
                  <a:cubicBezTo>
                    <a:pt x="182" y="1"/>
                    <a:pt x="192" y="0"/>
                    <a:pt x="199" y="5"/>
                  </a:cubicBezTo>
                  <a:cubicBezTo>
                    <a:pt x="205" y="10"/>
                    <a:pt x="206" y="20"/>
                    <a:pt x="201" y="26"/>
                  </a:cubicBezTo>
                  <a:cubicBezTo>
                    <a:pt x="199" y="28"/>
                    <a:pt x="160" y="77"/>
                    <a:pt x="107" y="7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a:ln>
                  <a:noFill/>
                </a:ln>
                <a:solidFill>
                  <a:srgbClr val="000000"/>
                </a:solidFill>
                <a:effectLst/>
                <a:uLnTx/>
                <a:uFillTx/>
                <a:latin typeface="Arial" charset="0"/>
                <a:ea typeface="+mn-ea"/>
                <a:cs typeface="+mn-cs"/>
              </a:endParaRPr>
            </a:p>
          </p:txBody>
        </p:sp>
        <p:sp>
          <p:nvSpPr>
            <p:cNvPr id="152" name="Freeform 20">
              <a:extLst>
                <a:ext uri="{FF2B5EF4-FFF2-40B4-BE49-F238E27FC236}">
                  <a16:creationId xmlns:a16="http://schemas.microsoft.com/office/drawing/2014/main" id="{CEA645E8-E57F-9492-7684-C94047B3B113}"/>
                </a:ext>
              </a:extLst>
            </p:cNvPr>
            <p:cNvSpPr>
              <a:spLocks noEditPoints="1"/>
            </p:cNvSpPr>
            <p:nvPr/>
          </p:nvSpPr>
          <p:spPr bwMode="auto">
            <a:xfrm>
              <a:off x="11633817" y="1102402"/>
              <a:ext cx="231147" cy="205087"/>
            </a:xfrm>
            <a:custGeom>
              <a:avLst/>
              <a:gdLst>
                <a:gd name="T0" fmla="*/ 550 w 570"/>
                <a:gd name="T1" fmla="*/ 406 h 524"/>
                <a:gd name="T2" fmla="*/ 397 w 570"/>
                <a:gd name="T3" fmla="*/ 305 h 524"/>
                <a:gd name="T4" fmla="*/ 395 w 570"/>
                <a:gd name="T5" fmla="*/ 304 h 524"/>
                <a:gd name="T6" fmla="*/ 418 w 570"/>
                <a:gd name="T7" fmla="*/ 209 h 524"/>
                <a:gd name="T8" fmla="*/ 209 w 570"/>
                <a:gd name="T9" fmla="*/ 0 h 524"/>
                <a:gd name="T10" fmla="*/ 0 w 570"/>
                <a:gd name="T11" fmla="*/ 209 h 524"/>
                <a:gd name="T12" fmla="*/ 209 w 570"/>
                <a:gd name="T13" fmla="*/ 418 h 524"/>
                <a:gd name="T14" fmla="*/ 336 w 570"/>
                <a:gd name="T15" fmla="*/ 375 h 524"/>
                <a:gd name="T16" fmla="*/ 337 w 570"/>
                <a:gd name="T17" fmla="*/ 376 h 524"/>
                <a:gd name="T18" fmla="*/ 464 w 570"/>
                <a:gd name="T19" fmla="*/ 510 h 524"/>
                <a:gd name="T20" fmla="*/ 520 w 570"/>
                <a:gd name="T21" fmla="*/ 505 h 524"/>
                <a:gd name="T22" fmla="*/ 556 w 570"/>
                <a:gd name="T23" fmla="*/ 462 h 524"/>
                <a:gd name="T24" fmla="*/ 550 w 570"/>
                <a:gd name="T25" fmla="*/ 406 h 524"/>
                <a:gd name="T26" fmla="*/ 209 w 570"/>
                <a:gd name="T27" fmla="*/ 364 h 524"/>
                <a:gd name="T28" fmla="*/ 54 w 570"/>
                <a:gd name="T29" fmla="*/ 209 h 524"/>
                <a:gd name="T30" fmla="*/ 209 w 570"/>
                <a:gd name="T31" fmla="*/ 54 h 524"/>
                <a:gd name="T32" fmla="*/ 364 w 570"/>
                <a:gd name="T33" fmla="*/ 209 h 524"/>
                <a:gd name="T34" fmla="*/ 209 w 570"/>
                <a:gd name="T35" fmla="*/ 36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0" h="524">
                  <a:moveTo>
                    <a:pt x="550" y="406"/>
                  </a:moveTo>
                  <a:cubicBezTo>
                    <a:pt x="397" y="305"/>
                    <a:pt x="397" y="305"/>
                    <a:pt x="397" y="305"/>
                  </a:cubicBezTo>
                  <a:cubicBezTo>
                    <a:pt x="396" y="305"/>
                    <a:pt x="396" y="304"/>
                    <a:pt x="395" y="304"/>
                  </a:cubicBezTo>
                  <a:cubicBezTo>
                    <a:pt x="410" y="276"/>
                    <a:pt x="418" y="243"/>
                    <a:pt x="418" y="209"/>
                  </a:cubicBezTo>
                  <a:cubicBezTo>
                    <a:pt x="418" y="94"/>
                    <a:pt x="324" y="0"/>
                    <a:pt x="209" y="0"/>
                  </a:cubicBezTo>
                  <a:cubicBezTo>
                    <a:pt x="94" y="0"/>
                    <a:pt x="0" y="94"/>
                    <a:pt x="0" y="209"/>
                  </a:cubicBezTo>
                  <a:cubicBezTo>
                    <a:pt x="0" y="324"/>
                    <a:pt x="94" y="418"/>
                    <a:pt x="209" y="418"/>
                  </a:cubicBezTo>
                  <a:cubicBezTo>
                    <a:pt x="257" y="418"/>
                    <a:pt x="301" y="402"/>
                    <a:pt x="336" y="375"/>
                  </a:cubicBezTo>
                  <a:cubicBezTo>
                    <a:pt x="336" y="375"/>
                    <a:pt x="337" y="376"/>
                    <a:pt x="337" y="376"/>
                  </a:cubicBezTo>
                  <a:cubicBezTo>
                    <a:pt x="464" y="510"/>
                    <a:pt x="464" y="510"/>
                    <a:pt x="464" y="510"/>
                  </a:cubicBezTo>
                  <a:cubicBezTo>
                    <a:pt x="481" y="524"/>
                    <a:pt x="506" y="522"/>
                    <a:pt x="520" y="505"/>
                  </a:cubicBezTo>
                  <a:cubicBezTo>
                    <a:pt x="556" y="462"/>
                    <a:pt x="556" y="462"/>
                    <a:pt x="556" y="462"/>
                  </a:cubicBezTo>
                  <a:cubicBezTo>
                    <a:pt x="570" y="445"/>
                    <a:pt x="567" y="420"/>
                    <a:pt x="550" y="406"/>
                  </a:cubicBezTo>
                  <a:close/>
                  <a:moveTo>
                    <a:pt x="209" y="364"/>
                  </a:moveTo>
                  <a:cubicBezTo>
                    <a:pt x="123" y="364"/>
                    <a:pt x="54" y="295"/>
                    <a:pt x="54" y="209"/>
                  </a:cubicBezTo>
                  <a:cubicBezTo>
                    <a:pt x="54" y="124"/>
                    <a:pt x="123" y="54"/>
                    <a:pt x="209" y="54"/>
                  </a:cubicBezTo>
                  <a:cubicBezTo>
                    <a:pt x="295" y="54"/>
                    <a:pt x="364" y="124"/>
                    <a:pt x="364" y="209"/>
                  </a:cubicBezTo>
                  <a:cubicBezTo>
                    <a:pt x="364" y="295"/>
                    <a:pt x="295" y="364"/>
                    <a:pt x="209" y="36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a:ln>
                  <a:noFill/>
                </a:ln>
                <a:solidFill>
                  <a:srgbClr val="000000"/>
                </a:solidFill>
                <a:effectLst/>
                <a:uLnTx/>
                <a:uFillTx/>
                <a:latin typeface="Arial" charset="0"/>
                <a:ea typeface="+mn-ea"/>
                <a:cs typeface="+mn-cs"/>
              </a:endParaRPr>
            </a:p>
          </p:txBody>
        </p:sp>
      </p:grpSp>
      <p:grpSp>
        <p:nvGrpSpPr>
          <p:cNvPr id="226" name="Group 225">
            <a:extLst>
              <a:ext uri="{FF2B5EF4-FFF2-40B4-BE49-F238E27FC236}">
                <a16:creationId xmlns:a16="http://schemas.microsoft.com/office/drawing/2014/main" id="{B159FFDF-B36C-1D42-CE71-BF3536838504}"/>
              </a:ext>
            </a:extLst>
          </p:cNvPr>
          <p:cNvGrpSpPr/>
          <p:nvPr/>
        </p:nvGrpSpPr>
        <p:grpSpPr>
          <a:xfrm>
            <a:off x="5713706" y="1094902"/>
            <a:ext cx="170146" cy="178230"/>
            <a:chOff x="5673258" y="927146"/>
            <a:chExt cx="251042" cy="262970"/>
          </a:xfrm>
        </p:grpSpPr>
        <p:sp>
          <p:nvSpPr>
            <p:cNvPr id="200" name="Freeform 14">
              <a:extLst>
                <a:ext uri="{FF2B5EF4-FFF2-40B4-BE49-F238E27FC236}">
                  <a16:creationId xmlns:a16="http://schemas.microsoft.com/office/drawing/2014/main" id="{11287969-3E97-6F37-8DA0-987002954C19}"/>
                </a:ext>
              </a:extLst>
            </p:cNvPr>
            <p:cNvSpPr>
              <a:spLocks noEditPoints="1"/>
            </p:cNvSpPr>
            <p:nvPr/>
          </p:nvSpPr>
          <p:spPr bwMode="auto">
            <a:xfrm>
              <a:off x="5785978" y="927146"/>
              <a:ext cx="128800" cy="125036"/>
            </a:xfrm>
            <a:custGeom>
              <a:avLst/>
              <a:gdLst>
                <a:gd name="T0" fmla="*/ 203 w 203"/>
                <a:gd name="T1" fmla="*/ 121 h 204"/>
                <a:gd name="T2" fmla="*/ 203 w 203"/>
                <a:gd name="T3" fmla="*/ 83 h 204"/>
                <a:gd name="T4" fmla="*/ 177 w 203"/>
                <a:gd name="T5" fmla="*/ 79 h 204"/>
                <a:gd name="T6" fmla="*/ 171 w 203"/>
                <a:gd name="T7" fmla="*/ 66 h 204"/>
                <a:gd name="T8" fmla="*/ 187 w 203"/>
                <a:gd name="T9" fmla="*/ 44 h 204"/>
                <a:gd name="T10" fmla="*/ 160 w 203"/>
                <a:gd name="T11" fmla="*/ 17 h 204"/>
                <a:gd name="T12" fmla="*/ 138 w 203"/>
                <a:gd name="T13" fmla="*/ 32 h 204"/>
                <a:gd name="T14" fmla="*/ 125 w 203"/>
                <a:gd name="T15" fmla="*/ 27 h 204"/>
                <a:gd name="T16" fmla="*/ 120 w 203"/>
                <a:gd name="T17" fmla="*/ 0 h 204"/>
                <a:gd name="T18" fmla="*/ 83 w 203"/>
                <a:gd name="T19" fmla="*/ 0 h 204"/>
                <a:gd name="T20" fmla="*/ 78 w 203"/>
                <a:gd name="T21" fmla="*/ 27 h 204"/>
                <a:gd name="T22" fmla="*/ 65 w 203"/>
                <a:gd name="T23" fmla="*/ 32 h 204"/>
                <a:gd name="T24" fmla="*/ 43 w 203"/>
                <a:gd name="T25" fmla="*/ 17 h 204"/>
                <a:gd name="T26" fmla="*/ 16 w 203"/>
                <a:gd name="T27" fmla="*/ 44 h 204"/>
                <a:gd name="T28" fmla="*/ 32 w 203"/>
                <a:gd name="T29" fmla="*/ 66 h 204"/>
                <a:gd name="T30" fmla="*/ 27 w 203"/>
                <a:gd name="T31" fmla="*/ 79 h 204"/>
                <a:gd name="T32" fmla="*/ 0 w 203"/>
                <a:gd name="T33" fmla="*/ 83 h 204"/>
                <a:gd name="T34" fmla="*/ 0 w 203"/>
                <a:gd name="T35" fmla="*/ 121 h 204"/>
                <a:gd name="T36" fmla="*/ 27 w 203"/>
                <a:gd name="T37" fmla="*/ 125 h 204"/>
                <a:gd name="T38" fmla="*/ 32 w 203"/>
                <a:gd name="T39" fmla="*/ 139 h 204"/>
                <a:gd name="T40" fmla="*/ 16 w 203"/>
                <a:gd name="T41" fmla="*/ 161 h 204"/>
                <a:gd name="T42" fmla="*/ 43 w 203"/>
                <a:gd name="T43" fmla="*/ 187 h 204"/>
                <a:gd name="T44" fmla="*/ 65 w 203"/>
                <a:gd name="T45" fmla="*/ 172 h 204"/>
                <a:gd name="T46" fmla="*/ 78 w 203"/>
                <a:gd name="T47" fmla="*/ 177 h 204"/>
                <a:gd name="T48" fmla="*/ 83 w 203"/>
                <a:gd name="T49" fmla="*/ 204 h 204"/>
                <a:gd name="T50" fmla="*/ 120 w 203"/>
                <a:gd name="T51" fmla="*/ 204 h 204"/>
                <a:gd name="T52" fmla="*/ 125 w 203"/>
                <a:gd name="T53" fmla="*/ 177 h 204"/>
                <a:gd name="T54" fmla="*/ 138 w 203"/>
                <a:gd name="T55" fmla="*/ 172 h 204"/>
                <a:gd name="T56" fmla="*/ 160 w 203"/>
                <a:gd name="T57" fmla="*/ 187 h 204"/>
                <a:gd name="T58" fmla="*/ 187 w 203"/>
                <a:gd name="T59" fmla="*/ 161 h 204"/>
                <a:gd name="T60" fmla="*/ 171 w 203"/>
                <a:gd name="T61" fmla="*/ 139 h 204"/>
                <a:gd name="T62" fmla="*/ 177 w 203"/>
                <a:gd name="T63" fmla="*/ 125 h 204"/>
                <a:gd name="T64" fmla="*/ 203 w 203"/>
                <a:gd name="T65" fmla="*/ 121 h 204"/>
                <a:gd name="T66" fmla="*/ 102 w 203"/>
                <a:gd name="T67" fmla="*/ 136 h 204"/>
                <a:gd name="T68" fmla="*/ 68 w 203"/>
                <a:gd name="T69" fmla="*/ 102 h 204"/>
                <a:gd name="T70" fmla="*/ 102 w 203"/>
                <a:gd name="T71" fmla="*/ 69 h 204"/>
                <a:gd name="T72" fmla="*/ 135 w 203"/>
                <a:gd name="T73" fmla="*/ 102 h 204"/>
                <a:gd name="T74" fmla="*/ 102 w 203"/>
                <a:gd name="T75" fmla="*/ 13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3" h="204">
                  <a:moveTo>
                    <a:pt x="203" y="121"/>
                  </a:moveTo>
                  <a:cubicBezTo>
                    <a:pt x="203" y="83"/>
                    <a:pt x="203" y="83"/>
                    <a:pt x="203" y="83"/>
                  </a:cubicBezTo>
                  <a:cubicBezTo>
                    <a:pt x="177" y="79"/>
                    <a:pt x="177" y="79"/>
                    <a:pt x="177" y="79"/>
                  </a:cubicBezTo>
                  <a:cubicBezTo>
                    <a:pt x="175" y="74"/>
                    <a:pt x="173" y="70"/>
                    <a:pt x="171" y="66"/>
                  </a:cubicBezTo>
                  <a:cubicBezTo>
                    <a:pt x="187" y="44"/>
                    <a:pt x="187" y="44"/>
                    <a:pt x="187" y="44"/>
                  </a:cubicBezTo>
                  <a:cubicBezTo>
                    <a:pt x="160" y="17"/>
                    <a:pt x="160" y="17"/>
                    <a:pt x="160" y="17"/>
                  </a:cubicBezTo>
                  <a:cubicBezTo>
                    <a:pt x="138" y="32"/>
                    <a:pt x="138" y="32"/>
                    <a:pt x="138" y="32"/>
                  </a:cubicBezTo>
                  <a:cubicBezTo>
                    <a:pt x="134" y="30"/>
                    <a:pt x="130" y="28"/>
                    <a:pt x="125" y="27"/>
                  </a:cubicBezTo>
                  <a:cubicBezTo>
                    <a:pt x="120" y="0"/>
                    <a:pt x="120" y="0"/>
                    <a:pt x="120" y="0"/>
                  </a:cubicBezTo>
                  <a:cubicBezTo>
                    <a:pt x="83" y="0"/>
                    <a:pt x="83" y="0"/>
                    <a:pt x="83" y="0"/>
                  </a:cubicBezTo>
                  <a:cubicBezTo>
                    <a:pt x="78" y="27"/>
                    <a:pt x="78" y="27"/>
                    <a:pt x="78" y="27"/>
                  </a:cubicBezTo>
                  <a:cubicBezTo>
                    <a:pt x="74" y="28"/>
                    <a:pt x="69" y="30"/>
                    <a:pt x="65" y="32"/>
                  </a:cubicBezTo>
                  <a:cubicBezTo>
                    <a:pt x="43" y="17"/>
                    <a:pt x="43" y="17"/>
                    <a:pt x="43" y="17"/>
                  </a:cubicBezTo>
                  <a:cubicBezTo>
                    <a:pt x="16" y="44"/>
                    <a:pt x="16" y="44"/>
                    <a:pt x="16" y="44"/>
                  </a:cubicBezTo>
                  <a:cubicBezTo>
                    <a:pt x="32" y="66"/>
                    <a:pt x="32" y="66"/>
                    <a:pt x="32" y="66"/>
                  </a:cubicBezTo>
                  <a:cubicBezTo>
                    <a:pt x="30" y="70"/>
                    <a:pt x="28" y="74"/>
                    <a:pt x="27" y="79"/>
                  </a:cubicBezTo>
                  <a:cubicBezTo>
                    <a:pt x="0" y="83"/>
                    <a:pt x="0" y="83"/>
                    <a:pt x="0" y="83"/>
                  </a:cubicBezTo>
                  <a:cubicBezTo>
                    <a:pt x="0" y="121"/>
                    <a:pt x="0" y="121"/>
                    <a:pt x="0" y="121"/>
                  </a:cubicBezTo>
                  <a:cubicBezTo>
                    <a:pt x="27" y="125"/>
                    <a:pt x="27" y="125"/>
                    <a:pt x="27" y="125"/>
                  </a:cubicBezTo>
                  <a:cubicBezTo>
                    <a:pt x="28" y="130"/>
                    <a:pt x="30" y="134"/>
                    <a:pt x="32" y="139"/>
                  </a:cubicBezTo>
                  <a:cubicBezTo>
                    <a:pt x="16" y="161"/>
                    <a:pt x="16" y="161"/>
                    <a:pt x="16" y="161"/>
                  </a:cubicBezTo>
                  <a:cubicBezTo>
                    <a:pt x="43" y="187"/>
                    <a:pt x="43" y="187"/>
                    <a:pt x="43" y="187"/>
                  </a:cubicBezTo>
                  <a:cubicBezTo>
                    <a:pt x="65" y="172"/>
                    <a:pt x="65" y="172"/>
                    <a:pt x="65" y="172"/>
                  </a:cubicBezTo>
                  <a:cubicBezTo>
                    <a:pt x="69" y="174"/>
                    <a:pt x="74" y="176"/>
                    <a:pt x="78" y="177"/>
                  </a:cubicBezTo>
                  <a:cubicBezTo>
                    <a:pt x="83" y="204"/>
                    <a:pt x="83" y="204"/>
                    <a:pt x="83" y="204"/>
                  </a:cubicBezTo>
                  <a:cubicBezTo>
                    <a:pt x="120" y="204"/>
                    <a:pt x="120" y="204"/>
                    <a:pt x="120" y="204"/>
                  </a:cubicBezTo>
                  <a:cubicBezTo>
                    <a:pt x="125" y="177"/>
                    <a:pt x="125" y="177"/>
                    <a:pt x="125" y="177"/>
                  </a:cubicBezTo>
                  <a:cubicBezTo>
                    <a:pt x="130" y="176"/>
                    <a:pt x="134" y="174"/>
                    <a:pt x="138" y="172"/>
                  </a:cubicBezTo>
                  <a:cubicBezTo>
                    <a:pt x="160" y="187"/>
                    <a:pt x="160" y="187"/>
                    <a:pt x="160" y="187"/>
                  </a:cubicBezTo>
                  <a:cubicBezTo>
                    <a:pt x="187" y="161"/>
                    <a:pt x="187" y="161"/>
                    <a:pt x="187" y="161"/>
                  </a:cubicBezTo>
                  <a:cubicBezTo>
                    <a:pt x="171" y="139"/>
                    <a:pt x="171" y="139"/>
                    <a:pt x="171" y="139"/>
                  </a:cubicBezTo>
                  <a:cubicBezTo>
                    <a:pt x="173" y="134"/>
                    <a:pt x="175" y="130"/>
                    <a:pt x="177" y="125"/>
                  </a:cubicBezTo>
                  <a:lnTo>
                    <a:pt x="203" y="121"/>
                  </a:lnTo>
                  <a:close/>
                  <a:moveTo>
                    <a:pt x="102" y="136"/>
                  </a:moveTo>
                  <a:cubicBezTo>
                    <a:pt x="83" y="136"/>
                    <a:pt x="68" y="121"/>
                    <a:pt x="68" y="102"/>
                  </a:cubicBezTo>
                  <a:cubicBezTo>
                    <a:pt x="68" y="84"/>
                    <a:pt x="83" y="69"/>
                    <a:pt x="102" y="69"/>
                  </a:cubicBezTo>
                  <a:cubicBezTo>
                    <a:pt x="120" y="69"/>
                    <a:pt x="135" y="84"/>
                    <a:pt x="135" y="102"/>
                  </a:cubicBezTo>
                  <a:cubicBezTo>
                    <a:pt x="135" y="121"/>
                    <a:pt x="120" y="136"/>
                    <a:pt x="102" y="13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a:ln>
                  <a:noFill/>
                </a:ln>
                <a:solidFill>
                  <a:srgbClr val="000000"/>
                </a:solidFill>
                <a:effectLst/>
                <a:uLnTx/>
                <a:uFillTx/>
                <a:latin typeface="Arial" charset="0"/>
                <a:ea typeface="+mn-ea"/>
                <a:cs typeface="+mn-cs"/>
              </a:endParaRPr>
            </a:p>
          </p:txBody>
        </p:sp>
        <p:sp>
          <p:nvSpPr>
            <p:cNvPr id="94" name="Freeform 72">
              <a:extLst>
                <a:ext uri="{FF2B5EF4-FFF2-40B4-BE49-F238E27FC236}">
                  <a16:creationId xmlns:a16="http://schemas.microsoft.com/office/drawing/2014/main" id="{9111EC7D-12A3-A6E0-C2CF-3175785099E0}"/>
                </a:ext>
              </a:extLst>
            </p:cNvPr>
            <p:cNvSpPr>
              <a:spLocks/>
            </p:cNvSpPr>
            <p:nvPr/>
          </p:nvSpPr>
          <p:spPr bwMode="auto">
            <a:xfrm>
              <a:off x="5673258" y="1061500"/>
              <a:ext cx="251042" cy="128616"/>
            </a:xfrm>
            <a:custGeom>
              <a:avLst/>
              <a:gdLst>
                <a:gd name="T0" fmla="*/ 17837 w 19529"/>
                <a:gd name="T1" fmla="*/ 367 h 10315"/>
                <a:gd name="T2" fmla="*/ 14525 w 19529"/>
                <a:gd name="T3" fmla="*/ 3687 h 10315"/>
                <a:gd name="T4" fmla="*/ 9377 w 19529"/>
                <a:gd name="T5" fmla="*/ 3687 h 10315"/>
                <a:gd name="T6" fmla="*/ 9190 w 19529"/>
                <a:gd name="T7" fmla="*/ 3499 h 10315"/>
                <a:gd name="T8" fmla="*/ 9190 w 19529"/>
                <a:gd name="T9" fmla="*/ 3311 h 10315"/>
                <a:gd name="T10" fmla="*/ 9377 w 19529"/>
                <a:gd name="T11" fmla="*/ 3123 h 10315"/>
                <a:gd name="T12" fmla="*/ 12406 w 19529"/>
                <a:gd name="T13" fmla="*/ 3123 h 10315"/>
                <a:gd name="T14" fmla="*/ 13344 w 19529"/>
                <a:gd name="T15" fmla="*/ 2183 h 10315"/>
                <a:gd name="T16" fmla="*/ 12406 w 19529"/>
                <a:gd name="T17" fmla="*/ 1243 h 10315"/>
                <a:gd name="T18" fmla="*/ 5021 w 19529"/>
                <a:gd name="T19" fmla="*/ 1243 h 10315"/>
                <a:gd name="T20" fmla="*/ 4358 w 19529"/>
                <a:gd name="T21" fmla="*/ 1518 h 10315"/>
                <a:gd name="T22" fmla="*/ 280 w 19529"/>
                <a:gd name="T23" fmla="*/ 5608 h 10315"/>
                <a:gd name="T24" fmla="*/ 5 w 19529"/>
                <a:gd name="T25" fmla="*/ 6291 h 10315"/>
                <a:gd name="T26" fmla="*/ 7 w 19529"/>
                <a:gd name="T27" fmla="*/ 9424 h 10315"/>
                <a:gd name="T28" fmla="*/ 279 w 19529"/>
                <a:gd name="T29" fmla="*/ 10040 h 10315"/>
                <a:gd name="T30" fmla="*/ 942 w 19529"/>
                <a:gd name="T31" fmla="*/ 10315 h 10315"/>
                <a:gd name="T32" fmla="*/ 1606 w 19529"/>
                <a:gd name="T33" fmla="*/ 10040 h 10315"/>
                <a:gd name="T34" fmla="*/ 5410 w 19529"/>
                <a:gd name="T35" fmla="*/ 6226 h 10315"/>
                <a:gd name="T36" fmla="*/ 14257 w 19529"/>
                <a:gd name="T37" fmla="*/ 6226 h 10315"/>
                <a:gd name="T38" fmla="*/ 14920 w 19529"/>
                <a:gd name="T39" fmla="*/ 5951 h 10315"/>
                <a:gd name="T40" fmla="*/ 19163 w 19529"/>
                <a:gd name="T41" fmla="*/ 1697 h 10315"/>
                <a:gd name="T42" fmla="*/ 19163 w 19529"/>
                <a:gd name="T43" fmla="*/ 367 h 10315"/>
                <a:gd name="T44" fmla="*/ 17837 w 19529"/>
                <a:gd name="T45" fmla="*/ 367 h 10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529" h="10315">
                  <a:moveTo>
                    <a:pt x="17837" y="367"/>
                  </a:moveTo>
                  <a:lnTo>
                    <a:pt x="14525" y="3687"/>
                  </a:lnTo>
                  <a:lnTo>
                    <a:pt x="9377" y="3687"/>
                  </a:lnTo>
                  <a:cubicBezTo>
                    <a:pt x="9274" y="3687"/>
                    <a:pt x="9190" y="3603"/>
                    <a:pt x="9190" y="3499"/>
                  </a:cubicBezTo>
                  <a:lnTo>
                    <a:pt x="9190" y="3311"/>
                  </a:lnTo>
                  <a:cubicBezTo>
                    <a:pt x="9190" y="3207"/>
                    <a:pt x="9274" y="3123"/>
                    <a:pt x="9377" y="3123"/>
                  </a:cubicBezTo>
                  <a:lnTo>
                    <a:pt x="12406" y="3123"/>
                  </a:lnTo>
                  <a:cubicBezTo>
                    <a:pt x="12924" y="3123"/>
                    <a:pt x="13344" y="2702"/>
                    <a:pt x="13344" y="2183"/>
                  </a:cubicBezTo>
                  <a:cubicBezTo>
                    <a:pt x="13344" y="1664"/>
                    <a:pt x="12924" y="1243"/>
                    <a:pt x="12406" y="1243"/>
                  </a:cubicBezTo>
                  <a:lnTo>
                    <a:pt x="5021" y="1243"/>
                  </a:lnTo>
                  <a:cubicBezTo>
                    <a:pt x="4773" y="1243"/>
                    <a:pt x="4534" y="1342"/>
                    <a:pt x="4358" y="1518"/>
                  </a:cubicBezTo>
                  <a:lnTo>
                    <a:pt x="280" y="5608"/>
                  </a:lnTo>
                  <a:cubicBezTo>
                    <a:pt x="92" y="5796"/>
                    <a:pt x="0" y="6045"/>
                    <a:pt x="5" y="6291"/>
                  </a:cubicBezTo>
                  <a:cubicBezTo>
                    <a:pt x="9" y="6463"/>
                    <a:pt x="1" y="9296"/>
                    <a:pt x="7" y="9424"/>
                  </a:cubicBezTo>
                  <a:cubicBezTo>
                    <a:pt x="18" y="9648"/>
                    <a:pt x="109" y="9869"/>
                    <a:pt x="279" y="10040"/>
                  </a:cubicBezTo>
                  <a:cubicBezTo>
                    <a:pt x="462" y="10223"/>
                    <a:pt x="702" y="10315"/>
                    <a:pt x="942" y="10315"/>
                  </a:cubicBezTo>
                  <a:cubicBezTo>
                    <a:pt x="1182" y="10315"/>
                    <a:pt x="1422" y="10223"/>
                    <a:pt x="1606" y="10040"/>
                  </a:cubicBezTo>
                  <a:lnTo>
                    <a:pt x="5410" y="6226"/>
                  </a:lnTo>
                  <a:lnTo>
                    <a:pt x="14257" y="6226"/>
                  </a:lnTo>
                  <a:cubicBezTo>
                    <a:pt x="14506" y="6226"/>
                    <a:pt x="14744" y="6127"/>
                    <a:pt x="14920" y="5951"/>
                  </a:cubicBezTo>
                  <a:lnTo>
                    <a:pt x="19163" y="1697"/>
                  </a:lnTo>
                  <a:cubicBezTo>
                    <a:pt x="19529" y="1329"/>
                    <a:pt x="19529" y="734"/>
                    <a:pt x="19163" y="367"/>
                  </a:cubicBezTo>
                  <a:cubicBezTo>
                    <a:pt x="18797" y="0"/>
                    <a:pt x="18203" y="0"/>
                    <a:pt x="17837" y="367"/>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charset="0"/>
                <a:ea typeface="+mn-ea"/>
                <a:cs typeface="+mn-cs"/>
              </a:endParaRPr>
            </a:p>
          </p:txBody>
        </p:sp>
      </p:grpSp>
      <p:sp>
        <p:nvSpPr>
          <p:cNvPr id="72" name="Title 1">
            <a:extLst>
              <a:ext uri="{FF2B5EF4-FFF2-40B4-BE49-F238E27FC236}">
                <a16:creationId xmlns:a16="http://schemas.microsoft.com/office/drawing/2014/main" id="{8F027869-B95E-F276-0C7C-7BBE84845A45}"/>
              </a:ext>
            </a:extLst>
          </p:cNvPr>
          <p:cNvSpPr>
            <a:spLocks noGrp="1"/>
          </p:cNvSpPr>
          <p:nvPr>
            <p:ph type="title"/>
          </p:nvPr>
        </p:nvSpPr>
        <p:spPr bwMode="gray">
          <a:xfrm>
            <a:off x="0" y="0"/>
            <a:ext cx="12191979" cy="1292630"/>
          </a:xfrm>
          <a:prstGeom prst="rect">
            <a:avLst/>
          </a:prstGeom>
          <a:solidFill>
            <a:srgbClr val="002576"/>
          </a:solidFill>
          <a:ln>
            <a:noFill/>
          </a:ln>
          <a:effectLst/>
        </p:spPr>
        <p:txBody>
          <a:bodyPr vert="horz" wrap="square" lIns="91440" tIns="45720" rIns="91440" bIns="45720" numCol="1" rtlCol="0" anchor="ctr" anchorCtr="0" compatLnSpc="1">
            <a:prstTxWarp prst="textNoShape">
              <a:avLst/>
            </a:prstTxWarp>
            <a:noAutofit/>
          </a:bodyPr>
          <a:lstStyle/>
          <a:p>
            <a:pPr algn="ctr" defTabSz="457200">
              <a:spcAft>
                <a:spcPts val="0"/>
              </a:spcAft>
              <a:tabLst/>
            </a:pPr>
            <a:r>
              <a:rPr lang="en-US" sz="2800" dirty="0">
                <a:solidFill>
                  <a:schemeClr val="bg1"/>
                </a:solidFill>
                <a:latin typeface="Arial Black"/>
              </a:rPr>
              <a:t>108 West Chicago Street, Sturgis</a:t>
            </a:r>
          </a:p>
        </p:txBody>
      </p:sp>
      <p:sp>
        <p:nvSpPr>
          <p:cNvPr id="4" name="Rectangle 3" hidden="1">
            <a:extLst>
              <a:ext uri="{FF2B5EF4-FFF2-40B4-BE49-F238E27FC236}">
                <a16:creationId xmlns:a16="http://schemas.microsoft.com/office/drawing/2014/main" id="{6AAE1CD5-1A3C-F3AE-1981-36E393748BA7}"/>
              </a:ext>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9" name="Rectangle 8">
            <a:extLst>
              <a:ext uri="{FF2B5EF4-FFF2-40B4-BE49-F238E27FC236}">
                <a16:creationId xmlns:a16="http://schemas.microsoft.com/office/drawing/2014/main" id="{1B97267F-ED59-29F9-20BF-907AA3E211A0}"/>
              </a:ext>
            </a:extLst>
          </p:cNvPr>
          <p:cNvSpPr/>
          <p:nvPr/>
        </p:nvSpPr>
        <p:spPr>
          <a:xfrm>
            <a:off x="10883" y="1291012"/>
            <a:ext cx="12192000" cy="87733"/>
          </a:xfrm>
          <a:prstGeom prst="rect">
            <a:avLst/>
          </a:prstGeom>
          <a:solidFill>
            <a:srgbClr val="9CCF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1026" name="Picture 2" descr="Photo">
            <a:extLst>
              <a:ext uri="{FF2B5EF4-FFF2-40B4-BE49-F238E27FC236}">
                <a16:creationId xmlns:a16="http://schemas.microsoft.com/office/drawing/2014/main" id="{B2CA1DD9-27A9-FE52-89CB-FBE2C699A134}"/>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14168" t="16108" r="33036" b="19387"/>
          <a:stretch/>
        </p:blipFill>
        <p:spPr bwMode="auto">
          <a:xfrm>
            <a:off x="5790103" y="1436788"/>
            <a:ext cx="5757075" cy="5275447"/>
          </a:xfrm>
          <a:prstGeom prst="rect">
            <a:avLst/>
          </a:prstGeom>
          <a:effectLst>
            <a:outerShdw blurRad="50800" dist="38100" dir="8100000" algn="tr" rotWithShape="0">
              <a:prstClr val="black">
                <a:alpha val="40000"/>
              </a:prstClr>
            </a:outerShdw>
          </a:effectLst>
          <a:extLst>
            <a:ext uri="{909E8E84-426E-40DD-AFC4-6F175D3DCCD1}">
              <a14:hiddenFill xmlns:a14="http://schemas.microsoft.com/office/drawing/2010/main">
                <a:solidFill>
                  <a:srgbClr val="FFFFFF"/>
                </a:solidFill>
              </a14:hiddenFill>
            </a:ext>
          </a:extLst>
        </p:spPr>
      </p:pic>
      <p:pic>
        <p:nvPicPr>
          <p:cNvPr id="8" name="Picture 7" descr="A white van parked in front of a building&#10;&#10;AI-generated content may be incorrect.">
            <a:extLst>
              <a:ext uri="{FF2B5EF4-FFF2-40B4-BE49-F238E27FC236}">
                <a16:creationId xmlns:a16="http://schemas.microsoft.com/office/drawing/2014/main" id="{FF75EB17-8778-B5F2-2B1D-C4B51CF015C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385551" y="1822268"/>
            <a:ext cx="5982790" cy="4487092"/>
          </a:xfrm>
          <a:prstGeom prst="rect">
            <a:avLst/>
          </a:prstGeom>
          <a:effectLst>
            <a:outerShdw blurRad="50800" dist="38100" dir="8100000" algn="tr" rotWithShape="0">
              <a:prstClr val="black">
                <a:alpha val="40000"/>
              </a:prstClr>
            </a:outerShdw>
          </a:effectLst>
        </p:spPr>
      </p:pic>
    </p:spTree>
    <p:extLst>
      <p:ext uri="{BB962C8B-B14F-4D97-AF65-F5344CB8AC3E}">
        <p14:creationId xmlns:p14="http://schemas.microsoft.com/office/powerpoint/2010/main" val="68509228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AB77E6F-C1F8-EDF3-4004-4C458C0473CC}"/>
            </a:ext>
          </a:extLst>
        </p:cNvPr>
        <p:cNvGrpSpPr/>
        <p:nvPr/>
      </p:nvGrpSpPr>
      <p:grpSpPr>
        <a:xfrm>
          <a:off x="0" y="0"/>
          <a:ext cx="0" cy="0"/>
          <a:chOff x="0" y="0"/>
          <a:chExt cx="0" cy="0"/>
        </a:xfrm>
      </p:grpSpPr>
      <p:pic>
        <p:nvPicPr>
          <p:cNvPr id="7" name="Picture 6" descr="A group of people walking on a sidewalk&#10;&#10;Description automatically generated with low confidence">
            <a:extLst>
              <a:ext uri="{FF2B5EF4-FFF2-40B4-BE49-F238E27FC236}">
                <a16:creationId xmlns:a16="http://schemas.microsoft.com/office/drawing/2014/main" id="{6087361C-0354-584B-1EB0-A6785B192E5C}"/>
              </a:ext>
            </a:extLst>
          </p:cNvPr>
          <p:cNvPicPr>
            <a:picLocks noChangeAspect="1"/>
          </p:cNvPicPr>
          <p:nvPr/>
        </p:nvPicPr>
        <p:blipFill rotWithShape="1">
          <a:blip r:embed="rId3">
            <a:extLst>
              <a:ext uri="{28A0092B-C50C-407E-A947-70E740481C1C}">
                <a14:useLocalDpi xmlns:a14="http://schemas.microsoft.com/office/drawing/2010/main" val="0"/>
              </a:ext>
            </a:extLst>
          </a:blip>
          <a:srcRect b="6302"/>
          <a:stretch/>
        </p:blipFill>
        <p:spPr>
          <a:xfrm>
            <a:off x="0" y="0"/>
            <a:ext cx="12192000" cy="6858000"/>
          </a:xfrm>
          <a:prstGeom prst="rect">
            <a:avLst/>
          </a:prstGeom>
        </p:spPr>
      </p:pic>
      <p:sp>
        <p:nvSpPr>
          <p:cNvPr id="3" name="Rectangle 2">
            <a:extLst>
              <a:ext uri="{FF2B5EF4-FFF2-40B4-BE49-F238E27FC236}">
                <a16:creationId xmlns:a16="http://schemas.microsoft.com/office/drawing/2014/main" id="{B2F2550A-5490-4729-45D7-2697DD04A3EC}"/>
              </a:ext>
            </a:extLst>
          </p:cNvPr>
          <p:cNvSpPr/>
          <p:nvPr/>
        </p:nvSpPr>
        <p:spPr>
          <a:xfrm flipH="1">
            <a:off x="0" y="0"/>
            <a:ext cx="2989332" cy="6858000"/>
          </a:xfrm>
          <a:prstGeom prst="rect">
            <a:avLst/>
          </a:prstGeom>
          <a:solidFill>
            <a:srgbClr val="001D59">
              <a:alpha val="8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b="1" dirty="0">
                <a:solidFill>
                  <a:schemeClr val="bg1"/>
                </a:solidFill>
                <a:latin typeface="Aptos Black" panose="020B0004020202020204" pitchFamily="34" charset="0"/>
                <a:ea typeface="+mj-ea"/>
              </a:rPr>
              <a:t>Bonus Downtown Development Tools</a:t>
            </a:r>
          </a:p>
          <a:p>
            <a:pPr algn="ctr">
              <a:defRPr/>
            </a:pPr>
            <a:endParaRPr lang="en-US" b="1" dirty="0">
              <a:solidFill>
                <a:srgbClr val="FFFFFF"/>
              </a:solidFill>
              <a:latin typeface="Aptos Narrow" panose="020B0004020202020204" pitchFamily="34" charset="0"/>
            </a:endParaRPr>
          </a:p>
        </p:txBody>
      </p:sp>
    </p:spTree>
    <p:extLst>
      <p:ext uri="{BB962C8B-B14F-4D97-AF65-F5344CB8AC3E}">
        <p14:creationId xmlns:p14="http://schemas.microsoft.com/office/powerpoint/2010/main" val="177389645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95B015-E77E-9771-F16C-FE3617345268}"/>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471AC288-CFAA-7DC5-13DC-17DC2A47A86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471AC288-CFAA-7DC5-13DC-17DC2A47A86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8CAF240B-6CC7-C302-E478-8EED29B6918C}"/>
              </a:ext>
            </a:extLst>
          </p:cNvPr>
          <p:cNvGrpSpPr/>
          <p:nvPr/>
        </p:nvGrpSpPr>
        <p:grpSpPr>
          <a:xfrm>
            <a:off x="11660635" y="1104552"/>
            <a:ext cx="144734" cy="128417"/>
            <a:chOff x="11633817" y="1102402"/>
            <a:chExt cx="231147" cy="205087"/>
          </a:xfrm>
        </p:grpSpPr>
        <p:sp>
          <p:nvSpPr>
            <p:cNvPr id="151" name="Freeform 19">
              <a:extLst>
                <a:ext uri="{FF2B5EF4-FFF2-40B4-BE49-F238E27FC236}">
                  <a16:creationId xmlns:a16="http://schemas.microsoft.com/office/drawing/2014/main" id="{983B955D-FE9D-A201-984F-8D373CB2F35A}"/>
                </a:ext>
              </a:extLst>
            </p:cNvPr>
            <p:cNvSpPr>
              <a:spLocks/>
            </p:cNvSpPr>
            <p:nvPr/>
          </p:nvSpPr>
          <p:spPr bwMode="auto">
            <a:xfrm>
              <a:off x="11676657" y="1169876"/>
              <a:ext cx="83691" cy="29778"/>
            </a:xfrm>
            <a:custGeom>
              <a:avLst/>
              <a:gdLst>
                <a:gd name="T0" fmla="*/ 107 w 206"/>
                <a:gd name="T1" fmla="*/ 77 h 77"/>
                <a:gd name="T2" fmla="*/ 107 w 206"/>
                <a:gd name="T3" fmla="*/ 77 h 77"/>
                <a:gd name="T4" fmla="*/ 106 w 206"/>
                <a:gd name="T5" fmla="*/ 77 h 77"/>
                <a:gd name="T6" fmla="*/ 5 w 206"/>
                <a:gd name="T7" fmla="*/ 26 h 77"/>
                <a:gd name="T8" fmla="*/ 8 w 206"/>
                <a:gd name="T9" fmla="*/ 5 h 77"/>
                <a:gd name="T10" fmla="*/ 29 w 206"/>
                <a:gd name="T11" fmla="*/ 8 h 77"/>
                <a:gd name="T12" fmla="*/ 107 w 206"/>
                <a:gd name="T13" fmla="*/ 46 h 77"/>
                <a:gd name="T14" fmla="*/ 177 w 206"/>
                <a:gd name="T15" fmla="*/ 7 h 77"/>
                <a:gd name="T16" fmla="*/ 199 w 206"/>
                <a:gd name="T17" fmla="*/ 5 h 77"/>
                <a:gd name="T18" fmla="*/ 201 w 206"/>
                <a:gd name="T19" fmla="*/ 26 h 77"/>
                <a:gd name="T20" fmla="*/ 107 w 206"/>
                <a:gd name="T21"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6" h="77">
                  <a:moveTo>
                    <a:pt x="107" y="77"/>
                  </a:moveTo>
                  <a:cubicBezTo>
                    <a:pt x="107" y="77"/>
                    <a:pt x="107" y="77"/>
                    <a:pt x="107" y="77"/>
                  </a:cubicBezTo>
                  <a:cubicBezTo>
                    <a:pt x="106" y="77"/>
                    <a:pt x="106" y="77"/>
                    <a:pt x="106" y="77"/>
                  </a:cubicBezTo>
                  <a:cubicBezTo>
                    <a:pt x="52" y="74"/>
                    <a:pt x="13" y="36"/>
                    <a:pt x="5" y="26"/>
                  </a:cubicBezTo>
                  <a:cubicBezTo>
                    <a:pt x="0" y="19"/>
                    <a:pt x="1" y="10"/>
                    <a:pt x="8" y="5"/>
                  </a:cubicBezTo>
                  <a:cubicBezTo>
                    <a:pt x="15" y="0"/>
                    <a:pt x="24" y="1"/>
                    <a:pt x="29" y="8"/>
                  </a:cubicBezTo>
                  <a:cubicBezTo>
                    <a:pt x="34" y="14"/>
                    <a:pt x="66" y="44"/>
                    <a:pt x="107" y="46"/>
                  </a:cubicBezTo>
                  <a:cubicBezTo>
                    <a:pt x="145" y="46"/>
                    <a:pt x="177" y="8"/>
                    <a:pt x="177" y="7"/>
                  </a:cubicBezTo>
                  <a:cubicBezTo>
                    <a:pt x="182" y="1"/>
                    <a:pt x="192" y="0"/>
                    <a:pt x="199" y="5"/>
                  </a:cubicBezTo>
                  <a:cubicBezTo>
                    <a:pt x="205" y="10"/>
                    <a:pt x="206" y="20"/>
                    <a:pt x="201" y="26"/>
                  </a:cubicBezTo>
                  <a:cubicBezTo>
                    <a:pt x="199" y="28"/>
                    <a:pt x="160" y="77"/>
                    <a:pt x="107" y="7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a:ln>
                  <a:noFill/>
                </a:ln>
                <a:solidFill>
                  <a:srgbClr val="000000"/>
                </a:solidFill>
                <a:effectLst/>
                <a:uLnTx/>
                <a:uFillTx/>
                <a:latin typeface="Arial" charset="0"/>
                <a:ea typeface="+mn-ea"/>
                <a:cs typeface="+mn-cs"/>
              </a:endParaRPr>
            </a:p>
          </p:txBody>
        </p:sp>
        <p:sp>
          <p:nvSpPr>
            <p:cNvPr id="152" name="Freeform 20">
              <a:extLst>
                <a:ext uri="{FF2B5EF4-FFF2-40B4-BE49-F238E27FC236}">
                  <a16:creationId xmlns:a16="http://schemas.microsoft.com/office/drawing/2014/main" id="{E6121963-19CE-7FC9-EC24-830BBD877CF7}"/>
                </a:ext>
              </a:extLst>
            </p:cNvPr>
            <p:cNvSpPr>
              <a:spLocks noEditPoints="1"/>
            </p:cNvSpPr>
            <p:nvPr/>
          </p:nvSpPr>
          <p:spPr bwMode="auto">
            <a:xfrm>
              <a:off x="11633817" y="1102402"/>
              <a:ext cx="231147" cy="205087"/>
            </a:xfrm>
            <a:custGeom>
              <a:avLst/>
              <a:gdLst>
                <a:gd name="T0" fmla="*/ 550 w 570"/>
                <a:gd name="T1" fmla="*/ 406 h 524"/>
                <a:gd name="T2" fmla="*/ 397 w 570"/>
                <a:gd name="T3" fmla="*/ 305 h 524"/>
                <a:gd name="T4" fmla="*/ 395 w 570"/>
                <a:gd name="T5" fmla="*/ 304 h 524"/>
                <a:gd name="T6" fmla="*/ 418 w 570"/>
                <a:gd name="T7" fmla="*/ 209 h 524"/>
                <a:gd name="T8" fmla="*/ 209 w 570"/>
                <a:gd name="T9" fmla="*/ 0 h 524"/>
                <a:gd name="T10" fmla="*/ 0 w 570"/>
                <a:gd name="T11" fmla="*/ 209 h 524"/>
                <a:gd name="T12" fmla="*/ 209 w 570"/>
                <a:gd name="T13" fmla="*/ 418 h 524"/>
                <a:gd name="T14" fmla="*/ 336 w 570"/>
                <a:gd name="T15" fmla="*/ 375 h 524"/>
                <a:gd name="T16" fmla="*/ 337 w 570"/>
                <a:gd name="T17" fmla="*/ 376 h 524"/>
                <a:gd name="T18" fmla="*/ 464 w 570"/>
                <a:gd name="T19" fmla="*/ 510 h 524"/>
                <a:gd name="T20" fmla="*/ 520 w 570"/>
                <a:gd name="T21" fmla="*/ 505 h 524"/>
                <a:gd name="T22" fmla="*/ 556 w 570"/>
                <a:gd name="T23" fmla="*/ 462 h 524"/>
                <a:gd name="T24" fmla="*/ 550 w 570"/>
                <a:gd name="T25" fmla="*/ 406 h 524"/>
                <a:gd name="T26" fmla="*/ 209 w 570"/>
                <a:gd name="T27" fmla="*/ 364 h 524"/>
                <a:gd name="T28" fmla="*/ 54 w 570"/>
                <a:gd name="T29" fmla="*/ 209 h 524"/>
                <a:gd name="T30" fmla="*/ 209 w 570"/>
                <a:gd name="T31" fmla="*/ 54 h 524"/>
                <a:gd name="T32" fmla="*/ 364 w 570"/>
                <a:gd name="T33" fmla="*/ 209 h 524"/>
                <a:gd name="T34" fmla="*/ 209 w 570"/>
                <a:gd name="T35" fmla="*/ 36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0" h="524">
                  <a:moveTo>
                    <a:pt x="550" y="406"/>
                  </a:moveTo>
                  <a:cubicBezTo>
                    <a:pt x="397" y="305"/>
                    <a:pt x="397" y="305"/>
                    <a:pt x="397" y="305"/>
                  </a:cubicBezTo>
                  <a:cubicBezTo>
                    <a:pt x="396" y="305"/>
                    <a:pt x="396" y="304"/>
                    <a:pt x="395" y="304"/>
                  </a:cubicBezTo>
                  <a:cubicBezTo>
                    <a:pt x="410" y="276"/>
                    <a:pt x="418" y="243"/>
                    <a:pt x="418" y="209"/>
                  </a:cubicBezTo>
                  <a:cubicBezTo>
                    <a:pt x="418" y="94"/>
                    <a:pt x="324" y="0"/>
                    <a:pt x="209" y="0"/>
                  </a:cubicBezTo>
                  <a:cubicBezTo>
                    <a:pt x="94" y="0"/>
                    <a:pt x="0" y="94"/>
                    <a:pt x="0" y="209"/>
                  </a:cubicBezTo>
                  <a:cubicBezTo>
                    <a:pt x="0" y="324"/>
                    <a:pt x="94" y="418"/>
                    <a:pt x="209" y="418"/>
                  </a:cubicBezTo>
                  <a:cubicBezTo>
                    <a:pt x="257" y="418"/>
                    <a:pt x="301" y="402"/>
                    <a:pt x="336" y="375"/>
                  </a:cubicBezTo>
                  <a:cubicBezTo>
                    <a:pt x="336" y="375"/>
                    <a:pt x="337" y="376"/>
                    <a:pt x="337" y="376"/>
                  </a:cubicBezTo>
                  <a:cubicBezTo>
                    <a:pt x="464" y="510"/>
                    <a:pt x="464" y="510"/>
                    <a:pt x="464" y="510"/>
                  </a:cubicBezTo>
                  <a:cubicBezTo>
                    <a:pt x="481" y="524"/>
                    <a:pt x="506" y="522"/>
                    <a:pt x="520" y="505"/>
                  </a:cubicBezTo>
                  <a:cubicBezTo>
                    <a:pt x="556" y="462"/>
                    <a:pt x="556" y="462"/>
                    <a:pt x="556" y="462"/>
                  </a:cubicBezTo>
                  <a:cubicBezTo>
                    <a:pt x="570" y="445"/>
                    <a:pt x="567" y="420"/>
                    <a:pt x="550" y="406"/>
                  </a:cubicBezTo>
                  <a:close/>
                  <a:moveTo>
                    <a:pt x="209" y="364"/>
                  </a:moveTo>
                  <a:cubicBezTo>
                    <a:pt x="123" y="364"/>
                    <a:pt x="54" y="295"/>
                    <a:pt x="54" y="209"/>
                  </a:cubicBezTo>
                  <a:cubicBezTo>
                    <a:pt x="54" y="124"/>
                    <a:pt x="123" y="54"/>
                    <a:pt x="209" y="54"/>
                  </a:cubicBezTo>
                  <a:cubicBezTo>
                    <a:pt x="295" y="54"/>
                    <a:pt x="364" y="124"/>
                    <a:pt x="364" y="209"/>
                  </a:cubicBezTo>
                  <a:cubicBezTo>
                    <a:pt x="364" y="295"/>
                    <a:pt x="295" y="364"/>
                    <a:pt x="209" y="36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a:ln>
                  <a:noFill/>
                </a:ln>
                <a:solidFill>
                  <a:srgbClr val="000000"/>
                </a:solidFill>
                <a:effectLst/>
                <a:uLnTx/>
                <a:uFillTx/>
                <a:latin typeface="Arial" charset="0"/>
                <a:ea typeface="+mn-ea"/>
                <a:cs typeface="+mn-cs"/>
              </a:endParaRPr>
            </a:p>
          </p:txBody>
        </p:sp>
      </p:grpSp>
      <p:grpSp>
        <p:nvGrpSpPr>
          <p:cNvPr id="226" name="Group 225">
            <a:extLst>
              <a:ext uri="{FF2B5EF4-FFF2-40B4-BE49-F238E27FC236}">
                <a16:creationId xmlns:a16="http://schemas.microsoft.com/office/drawing/2014/main" id="{E24FD5FA-2AE2-CA56-C32D-EF5193FF02FC}"/>
              </a:ext>
            </a:extLst>
          </p:cNvPr>
          <p:cNvGrpSpPr/>
          <p:nvPr/>
        </p:nvGrpSpPr>
        <p:grpSpPr>
          <a:xfrm>
            <a:off x="5713706" y="1094902"/>
            <a:ext cx="170146" cy="178230"/>
            <a:chOff x="5673258" y="927146"/>
            <a:chExt cx="251042" cy="262970"/>
          </a:xfrm>
        </p:grpSpPr>
        <p:sp>
          <p:nvSpPr>
            <p:cNvPr id="200" name="Freeform 14">
              <a:extLst>
                <a:ext uri="{FF2B5EF4-FFF2-40B4-BE49-F238E27FC236}">
                  <a16:creationId xmlns:a16="http://schemas.microsoft.com/office/drawing/2014/main" id="{F4DB5CF0-1B98-DA95-F9E2-D088466267FA}"/>
                </a:ext>
              </a:extLst>
            </p:cNvPr>
            <p:cNvSpPr>
              <a:spLocks noEditPoints="1"/>
            </p:cNvSpPr>
            <p:nvPr/>
          </p:nvSpPr>
          <p:spPr bwMode="auto">
            <a:xfrm>
              <a:off x="5785978" y="927146"/>
              <a:ext cx="128800" cy="125036"/>
            </a:xfrm>
            <a:custGeom>
              <a:avLst/>
              <a:gdLst>
                <a:gd name="T0" fmla="*/ 203 w 203"/>
                <a:gd name="T1" fmla="*/ 121 h 204"/>
                <a:gd name="T2" fmla="*/ 203 w 203"/>
                <a:gd name="T3" fmla="*/ 83 h 204"/>
                <a:gd name="T4" fmla="*/ 177 w 203"/>
                <a:gd name="T5" fmla="*/ 79 h 204"/>
                <a:gd name="T6" fmla="*/ 171 w 203"/>
                <a:gd name="T7" fmla="*/ 66 h 204"/>
                <a:gd name="T8" fmla="*/ 187 w 203"/>
                <a:gd name="T9" fmla="*/ 44 h 204"/>
                <a:gd name="T10" fmla="*/ 160 w 203"/>
                <a:gd name="T11" fmla="*/ 17 h 204"/>
                <a:gd name="T12" fmla="*/ 138 w 203"/>
                <a:gd name="T13" fmla="*/ 32 h 204"/>
                <a:gd name="T14" fmla="*/ 125 w 203"/>
                <a:gd name="T15" fmla="*/ 27 h 204"/>
                <a:gd name="T16" fmla="*/ 120 w 203"/>
                <a:gd name="T17" fmla="*/ 0 h 204"/>
                <a:gd name="T18" fmla="*/ 83 w 203"/>
                <a:gd name="T19" fmla="*/ 0 h 204"/>
                <a:gd name="T20" fmla="*/ 78 w 203"/>
                <a:gd name="T21" fmla="*/ 27 h 204"/>
                <a:gd name="T22" fmla="*/ 65 w 203"/>
                <a:gd name="T23" fmla="*/ 32 h 204"/>
                <a:gd name="T24" fmla="*/ 43 w 203"/>
                <a:gd name="T25" fmla="*/ 17 h 204"/>
                <a:gd name="T26" fmla="*/ 16 w 203"/>
                <a:gd name="T27" fmla="*/ 44 h 204"/>
                <a:gd name="T28" fmla="*/ 32 w 203"/>
                <a:gd name="T29" fmla="*/ 66 h 204"/>
                <a:gd name="T30" fmla="*/ 27 w 203"/>
                <a:gd name="T31" fmla="*/ 79 h 204"/>
                <a:gd name="T32" fmla="*/ 0 w 203"/>
                <a:gd name="T33" fmla="*/ 83 h 204"/>
                <a:gd name="T34" fmla="*/ 0 w 203"/>
                <a:gd name="T35" fmla="*/ 121 h 204"/>
                <a:gd name="T36" fmla="*/ 27 w 203"/>
                <a:gd name="T37" fmla="*/ 125 h 204"/>
                <a:gd name="T38" fmla="*/ 32 w 203"/>
                <a:gd name="T39" fmla="*/ 139 h 204"/>
                <a:gd name="T40" fmla="*/ 16 w 203"/>
                <a:gd name="T41" fmla="*/ 161 h 204"/>
                <a:gd name="T42" fmla="*/ 43 w 203"/>
                <a:gd name="T43" fmla="*/ 187 h 204"/>
                <a:gd name="T44" fmla="*/ 65 w 203"/>
                <a:gd name="T45" fmla="*/ 172 h 204"/>
                <a:gd name="T46" fmla="*/ 78 w 203"/>
                <a:gd name="T47" fmla="*/ 177 h 204"/>
                <a:gd name="T48" fmla="*/ 83 w 203"/>
                <a:gd name="T49" fmla="*/ 204 h 204"/>
                <a:gd name="T50" fmla="*/ 120 w 203"/>
                <a:gd name="T51" fmla="*/ 204 h 204"/>
                <a:gd name="T52" fmla="*/ 125 w 203"/>
                <a:gd name="T53" fmla="*/ 177 h 204"/>
                <a:gd name="T54" fmla="*/ 138 w 203"/>
                <a:gd name="T55" fmla="*/ 172 h 204"/>
                <a:gd name="T56" fmla="*/ 160 w 203"/>
                <a:gd name="T57" fmla="*/ 187 h 204"/>
                <a:gd name="T58" fmla="*/ 187 w 203"/>
                <a:gd name="T59" fmla="*/ 161 h 204"/>
                <a:gd name="T60" fmla="*/ 171 w 203"/>
                <a:gd name="T61" fmla="*/ 139 h 204"/>
                <a:gd name="T62" fmla="*/ 177 w 203"/>
                <a:gd name="T63" fmla="*/ 125 h 204"/>
                <a:gd name="T64" fmla="*/ 203 w 203"/>
                <a:gd name="T65" fmla="*/ 121 h 204"/>
                <a:gd name="T66" fmla="*/ 102 w 203"/>
                <a:gd name="T67" fmla="*/ 136 h 204"/>
                <a:gd name="T68" fmla="*/ 68 w 203"/>
                <a:gd name="T69" fmla="*/ 102 h 204"/>
                <a:gd name="T70" fmla="*/ 102 w 203"/>
                <a:gd name="T71" fmla="*/ 69 h 204"/>
                <a:gd name="T72" fmla="*/ 135 w 203"/>
                <a:gd name="T73" fmla="*/ 102 h 204"/>
                <a:gd name="T74" fmla="*/ 102 w 203"/>
                <a:gd name="T75" fmla="*/ 13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3" h="204">
                  <a:moveTo>
                    <a:pt x="203" y="121"/>
                  </a:moveTo>
                  <a:cubicBezTo>
                    <a:pt x="203" y="83"/>
                    <a:pt x="203" y="83"/>
                    <a:pt x="203" y="83"/>
                  </a:cubicBezTo>
                  <a:cubicBezTo>
                    <a:pt x="177" y="79"/>
                    <a:pt x="177" y="79"/>
                    <a:pt x="177" y="79"/>
                  </a:cubicBezTo>
                  <a:cubicBezTo>
                    <a:pt x="175" y="74"/>
                    <a:pt x="173" y="70"/>
                    <a:pt x="171" y="66"/>
                  </a:cubicBezTo>
                  <a:cubicBezTo>
                    <a:pt x="187" y="44"/>
                    <a:pt x="187" y="44"/>
                    <a:pt x="187" y="44"/>
                  </a:cubicBezTo>
                  <a:cubicBezTo>
                    <a:pt x="160" y="17"/>
                    <a:pt x="160" y="17"/>
                    <a:pt x="160" y="17"/>
                  </a:cubicBezTo>
                  <a:cubicBezTo>
                    <a:pt x="138" y="32"/>
                    <a:pt x="138" y="32"/>
                    <a:pt x="138" y="32"/>
                  </a:cubicBezTo>
                  <a:cubicBezTo>
                    <a:pt x="134" y="30"/>
                    <a:pt x="130" y="28"/>
                    <a:pt x="125" y="27"/>
                  </a:cubicBezTo>
                  <a:cubicBezTo>
                    <a:pt x="120" y="0"/>
                    <a:pt x="120" y="0"/>
                    <a:pt x="120" y="0"/>
                  </a:cubicBezTo>
                  <a:cubicBezTo>
                    <a:pt x="83" y="0"/>
                    <a:pt x="83" y="0"/>
                    <a:pt x="83" y="0"/>
                  </a:cubicBezTo>
                  <a:cubicBezTo>
                    <a:pt x="78" y="27"/>
                    <a:pt x="78" y="27"/>
                    <a:pt x="78" y="27"/>
                  </a:cubicBezTo>
                  <a:cubicBezTo>
                    <a:pt x="74" y="28"/>
                    <a:pt x="69" y="30"/>
                    <a:pt x="65" y="32"/>
                  </a:cubicBezTo>
                  <a:cubicBezTo>
                    <a:pt x="43" y="17"/>
                    <a:pt x="43" y="17"/>
                    <a:pt x="43" y="17"/>
                  </a:cubicBezTo>
                  <a:cubicBezTo>
                    <a:pt x="16" y="44"/>
                    <a:pt x="16" y="44"/>
                    <a:pt x="16" y="44"/>
                  </a:cubicBezTo>
                  <a:cubicBezTo>
                    <a:pt x="32" y="66"/>
                    <a:pt x="32" y="66"/>
                    <a:pt x="32" y="66"/>
                  </a:cubicBezTo>
                  <a:cubicBezTo>
                    <a:pt x="30" y="70"/>
                    <a:pt x="28" y="74"/>
                    <a:pt x="27" y="79"/>
                  </a:cubicBezTo>
                  <a:cubicBezTo>
                    <a:pt x="0" y="83"/>
                    <a:pt x="0" y="83"/>
                    <a:pt x="0" y="83"/>
                  </a:cubicBezTo>
                  <a:cubicBezTo>
                    <a:pt x="0" y="121"/>
                    <a:pt x="0" y="121"/>
                    <a:pt x="0" y="121"/>
                  </a:cubicBezTo>
                  <a:cubicBezTo>
                    <a:pt x="27" y="125"/>
                    <a:pt x="27" y="125"/>
                    <a:pt x="27" y="125"/>
                  </a:cubicBezTo>
                  <a:cubicBezTo>
                    <a:pt x="28" y="130"/>
                    <a:pt x="30" y="134"/>
                    <a:pt x="32" y="139"/>
                  </a:cubicBezTo>
                  <a:cubicBezTo>
                    <a:pt x="16" y="161"/>
                    <a:pt x="16" y="161"/>
                    <a:pt x="16" y="161"/>
                  </a:cubicBezTo>
                  <a:cubicBezTo>
                    <a:pt x="43" y="187"/>
                    <a:pt x="43" y="187"/>
                    <a:pt x="43" y="187"/>
                  </a:cubicBezTo>
                  <a:cubicBezTo>
                    <a:pt x="65" y="172"/>
                    <a:pt x="65" y="172"/>
                    <a:pt x="65" y="172"/>
                  </a:cubicBezTo>
                  <a:cubicBezTo>
                    <a:pt x="69" y="174"/>
                    <a:pt x="74" y="176"/>
                    <a:pt x="78" y="177"/>
                  </a:cubicBezTo>
                  <a:cubicBezTo>
                    <a:pt x="83" y="204"/>
                    <a:pt x="83" y="204"/>
                    <a:pt x="83" y="204"/>
                  </a:cubicBezTo>
                  <a:cubicBezTo>
                    <a:pt x="120" y="204"/>
                    <a:pt x="120" y="204"/>
                    <a:pt x="120" y="204"/>
                  </a:cubicBezTo>
                  <a:cubicBezTo>
                    <a:pt x="125" y="177"/>
                    <a:pt x="125" y="177"/>
                    <a:pt x="125" y="177"/>
                  </a:cubicBezTo>
                  <a:cubicBezTo>
                    <a:pt x="130" y="176"/>
                    <a:pt x="134" y="174"/>
                    <a:pt x="138" y="172"/>
                  </a:cubicBezTo>
                  <a:cubicBezTo>
                    <a:pt x="160" y="187"/>
                    <a:pt x="160" y="187"/>
                    <a:pt x="160" y="187"/>
                  </a:cubicBezTo>
                  <a:cubicBezTo>
                    <a:pt x="187" y="161"/>
                    <a:pt x="187" y="161"/>
                    <a:pt x="187" y="161"/>
                  </a:cubicBezTo>
                  <a:cubicBezTo>
                    <a:pt x="171" y="139"/>
                    <a:pt x="171" y="139"/>
                    <a:pt x="171" y="139"/>
                  </a:cubicBezTo>
                  <a:cubicBezTo>
                    <a:pt x="173" y="134"/>
                    <a:pt x="175" y="130"/>
                    <a:pt x="177" y="125"/>
                  </a:cubicBezTo>
                  <a:lnTo>
                    <a:pt x="203" y="121"/>
                  </a:lnTo>
                  <a:close/>
                  <a:moveTo>
                    <a:pt x="102" y="136"/>
                  </a:moveTo>
                  <a:cubicBezTo>
                    <a:pt x="83" y="136"/>
                    <a:pt x="68" y="121"/>
                    <a:pt x="68" y="102"/>
                  </a:cubicBezTo>
                  <a:cubicBezTo>
                    <a:pt x="68" y="84"/>
                    <a:pt x="83" y="69"/>
                    <a:pt x="102" y="69"/>
                  </a:cubicBezTo>
                  <a:cubicBezTo>
                    <a:pt x="120" y="69"/>
                    <a:pt x="135" y="84"/>
                    <a:pt x="135" y="102"/>
                  </a:cubicBezTo>
                  <a:cubicBezTo>
                    <a:pt x="135" y="121"/>
                    <a:pt x="120" y="136"/>
                    <a:pt x="102" y="13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a:ln>
                  <a:noFill/>
                </a:ln>
                <a:solidFill>
                  <a:srgbClr val="000000"/>
                </a:solidFill>
                <a:effectLst/>
                <a:uLnTx/>
                <a:uFillTx/>
                <a:latin typeface="Arial" charset="0"/>
                <a:ea typeface="+mn-ea"/>
                <a:cs typeface="+mn-cs"/>
              </a:endParaRPr>
            </a:p>
          </p:txBody>
        </p:sp>
        <p:sp>
          <p:nvSpPr>
            <p:cNvPr id="94" name="Freeform 72">
              <a:extLst>
                <a:ext uri="{FF2B5EF4-FFF2-40B4-BE49-F238E27FC236}">
                  <a16:creationId xmlns:a16="http://schemas.microsoft.com/office/drawing/2014/main" id="{F6BA8337-D8C2-71F7-345D-ABA2578EA45B}"/>
                </a:ext>
              </a:extLst>
            </p:cNvPr>
            <p:cNvSpPr>
              <a:spLocks/>
            </p:cNvSpPr>
            <p:nvPr/>
          </p:nvSpPr>
          <p:spPr bwMode="auto">
            <a:xfrm>
              <a:off x="5673258" y="1061500"/>
              <a:ext cx="251042" cy="128616"/>
            </a:xfrm>
            <a:custGeom>
              <a:avLst/>
              <a:gdLst>
                <a:gd name="T0" fmla="*/ 17837 w 19529"/>
                <a:gd name="T1" fmla="*/ 367 h 10315"/>
                <a:gd name="T2" fmla="*/ 14525 w 19529"/>
                <a:gd name="T3" fmla="*/ 3687 h 10315"/>
                <a:gd name="T4" fmla="*/ 9377 w 19529"/>
                <a:gd name="T5" fmla="*/ 3687 h 10315"/>
                <a:gd name="T6" fmla="*/ 9190 w 19529"/>
                <a:gd name="T7" fmla="*/ 3499 h 10315"/>
                <a:gd name="T8" fmla="*/ 9190 w 19529"/>
                <a:gd name="T9" fmla="*/ 3311 h 10315"/>
                <a:gd name="T10" fmla="*/ 9377 w 19529"/>
                <a:gd name="T11" fmla="*/ 3123 h 10315"/>
                <a:gd name="T12" fmla="*/ 12406 w 19529"/>
                <a:gd name="T13" fmla="*/ 3123 h 10315"/>
                <a:gd name="T14" fmla="*/ 13344 w 19529"/>
                <a:gd name="T15" fmla="*/ 2183 h 10315"/>
                <a:gd name="T16" fmla="*/ 12406 w 19529"/>
                <a:gd name="T17" fmla="*/ 1243 h 10315"/>
                <a:gd name="T18" fmla="*/ 5021 w 19529"/>
                <a:gd name="T19" fmla="*/ 1243 h 10315"/>
                <a:gd name="T20" fmla="*/ 4358 w 19529"/>
                <a:gd name="T21" fmla="*/ 1518 h 10315"/>
                <a:gd name="T22" fmla="*/ 280 w 19529"/>
                <a:gd name="T23" fmla="*/ 5608 h 10315"/>
                <a:gd name="T24" fmla="*/ 5 w 19529"/>
                <a:gd name="T25" fmla="*/ 6291 h 10315"/>
                <a:gd name="T26" fmla="*/ 7 w 19529"/>
                <a:gd name="T27" fmla="*/ 9424 h 10315"/>
                <a:gd name="T28" fmla="*/ 279 w 19529"/>
                <a:gd name="T29" fmla="*/ 10040 h 10315"/>
                <a:gd name="T30" fmla="*/ 942 w 19529"/>
                <a:gd name="T31" fmla="*/ 10315 h 10315"/>
                <a:gd name="T32" fmla="*/ 1606 w 19529"/>
                <a:gd name="T33" fmla="*/ 10040 h 10315"/>
                <a:gd name="T34" fmla="*/ 5410 w 19529"/>
                <a:gd name="T35" fmla="*/ 6226 h 10315"/>
                <a:gd name="T36" fmla="*/ 14257 w 19529"/>
                <a:gd name="T37" fmla="*/ 6226 h 10315"/>
                <a:gd name="T38" fmla="*/ 14920 w 19529"/>
                <a:gd name="T39" fmla="*/ 5951 h 10315"/>
                <a:gd name="T40" fmla="*/ 19163 w 19529"/>
                <a:gd name="T41" fmla="*/ 1697 h 10315"/>
                <a:gd name="T42" fmla="*/ 19163 w 19529"/>
                <a:gd name="T43" fmla="*/ 367 h 10315"/>
                <a:gd name="T44" fmla="*/ 17837 w 19529"/>
                <a:gd name="T45" fmla="*/ 367 h 10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529" h="10315">
                  <a:moveTo>
                    <a:pt x="17837" y="367"/>
                  </a:moveTo>
                  <a:lnTo>
                    <a:pt x="14525" y="3687"/>
                  </a:lnTo>
                  <a:lnTo>
                    <a:pt x="9377" y="3687"/>
                  </a:lnTo>
                  <a:cubicBezTo>
                    <a:pt x="9274" y="3687"/>
                    <a:pt x="9190" y="3603"/>
                    <a:pt x="9190" y="3499"/>
                  </a:cubicBezTo>
                  <a:lnTo>
                    <a:pt x="9190" y="3311"/>
                  </a:lnTo>
                  <a:cubicBezTo>
                    <a:pt x="9190" y="3207"/>
                    <a:pt x="9274" y="3123"/>
                    <a:pt x="9377" y="3123"/>
                  </a:cubicBezTo>
                  <a:lnTo>
                    <a:pt x="12406" y="3123"/>
                  </a:lnTo>
                  <a:cubicBezTo>
                    <a:pt x="12924" y="3123"/>
                    <a:pt x="13344" y="2702"/>
                    <a:pt x="13344" y="2183"/>
                  </a:cubicBezTo>
                  <a:cubicBezTo>
                    <a:pt x="13344" y="1664"/>
                    <a:pt x="12924" y="1243"/>
                    <a:pt x="12406" y="1243"/>
                  </a:cubicBezTo>
                  <a:lnTo>
                    <a:pt x="5021" y="1243"/>
                  </a:lnTo>
                  <a:cubicBezTo>
                    <a:pt x="4773" y="1243"/>
                    <a:pt x="4534" y="1342"/>
                    <a:pt x="4358" y="1518"/>
                  </a:cubicBezTo>
                  <a:lnTo>
                    <a:pt x="280" y="5608"/>
                  </a:lnTo>
                  <a:cubicBezTo>
                    <a:pt x="92" y="5796"/>
                    <a:pt x="0" y="6045"/>
                    <a:pt x="5" y="6291"/>
                  </a:cubicBezTo>
                  <a:cubicBezTo>
                    <a:pt x="9" y="6463"/>
                    <a:pt x="1" y="9296"/>
                    <a:pt x="7" y="9424"/>
                  </a:cubicBezTo>
                  <a:cubicBezTo>
                    <a:pt x="18" y="9648"/>
                    <a:pt x="109" y="9869"/>
                    <a:pt x="279" y="10040"/>
                  </a:cubicBezTo>
                  <a:cubicBezTo>
                    <a:pt x="462" y="10223"/>
                    <a:pt x="702" y="10315"/>
                    <a:pt x="942" y="10315"/>
                  </a:cubicBezTo>
                  <a:cubicBezTo>
                    <a:pt x="1182" y="10315"/>
                    <a:pt x="1422" y="10223"/>
                    <a:pt x="1606" y="10040"/>
                  </a:cubicBezTo>
                  <a:lnTo>
                    <a:pt x="5410" y="6226"/>
                  </a:lnTo>
                  <a:lnTo>
                    <a:pt x="14257" y="6226"/>
                  </a:lnTo>
                  <a:cubicBezTo>
                    <a:pt x="14506" y="6226"/>
                    <a:pt x="14744" y="6127"/>
                    <a:pt x="14920" y="5951"/>
                  </a:cubicBezTo>
                  <a:lnTo>
                    <a:pt x="19163" y="1697"/>
                  </a:lnTo>
                  <a:cubicBezTo>
                    <a:pt x="19529" y="1329"/>
                    <a:pt x="19529" y="734"/>
                    <a:pt x="19163" y="367"/>
                  </a:cubicBezTo>
                  <a:cubicBezTo>
                    <a:pt x="18797" y="0"/>
                    <a:pt x="18203" y="0"/>
                    <a:pt x="17837" y="367"/>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charset="0"/>
                <a:ea typeface="+mn-ea"/>
                <a:cs typeface="+mn-cs"/>
              </a:endParaRPr>
            </a:p>
          </p:txBody>
        </p:sp>
      </p:grpSp>
      <p:sp>
        <p:nvSpPr>
          <p:cNvPr id="72" name="Title 1">
            <a:extLst>
              <a:ext uri="{FF2B5EF4-FFF2-40B4-BE49-F238E27FC236}">
                <a16:creationId xmlns:a16="http://schemas.microsoft.com/office/drawing/2014/main" id="{FCA95705-3B82-F625-2389-8D92AD10FF89}"/>
              </a:ext>
            </a:extLst>
          </p:cNvPr>
          <p:cNvSpPr>
            <a:spLocks noGrp="1"/>
          </p:cNvSpPr>
          <p:nvPr>
            <p:ph type="title"/>
          </p:nvPr>
        </p:nvSpPr>
        <p:spPr bwMode="gray">
          <a:xfrm>
            <a:off x="0" y="0"/>
            <a:ext cx="12191979" cy="1292630"/>
          </a:xfrm>
          <a:prstGeom prst="rect">
            <a:avLst/>
          </a:prstGeom>
          <a:solidFill>
            <a:srgbClr val="002576"/>
          </a:solidFill>
          <a:ln>
            <a:noFill/>
          </a:ln>
          <a:effectLst/>
        </p:spPr>
        <p:txBody>
          <a:bodyPr vert="horz" wrap="square" lIns="91440" tIns="45720" rIns="91440" bIns="45720" numCol="1" rtlCol="0" anchor="ctr" anchorCtr="0" compatLnSpc="1">
            <a:prstTxWarp prst="textNoShape">
              <a:avLst/>
            </a:prstTxWarp>
            <a:noAutofit/>
          </a:bodyPr>
          <a:lstStyle/>
          <a:p>
            <a:pPr algn="ctr" defTabSz="457200">
              <a:spcAft>
                <a:spcPts val="0"/>
              </a:spcAft>
              <a:tabLst/>
            </a:pPr>
            <a:r>
              <a:rPr lang="en-US" sz="2800" dirty="0">
                <a:solidFill>
                  <a:schemeClr val="bg1"/>
                </a:solidFill>
                <a:latin typeface="Arial Black"/>
              </a:rPr>
              <a:t>Local Real Estate Development Tools</a:t>
            </a:r>
            <a:endParaRPr lang="en-US" sz="2800" dirty="0">
              <a:solidFill>
                <a:schemeClr val="bg1"/>
              </a:solidFill>
            </a:endParaRPr>
          </a:p>
        </p:txBody>
      </p:sp>
      <p:sp>
        <p:nvSpPr>
          <p:cNvPr id="4" name="Rectangle 3" hidden="1">
            <a:extLst>
              <a:ext uri="{FF2B5EF4-FFF2-40B4-BE49-F238E27FC236}">
                <a16:creationId xmlns:a16="http://schemas.microsoft.com/office/drawing/2014/main" id="{1AECFE8B-68AB-D754-52B4-5859274C1ED2}"/>
              </a:ext>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9" name="Rectangle 8">
            <a:extLst>
              <a:ext uri="{FF2B5EF4-FFF2-40B4-BE49-F238E27FC236}">
                <a16:creationId xmlns:a16="http://schemas.microsoft.com/office/drawing/2014/main" id="{B2B03104-9A1C-6330-A00A-749B6A4D2E08}"/>
              </a:ext>
            </a:extLst>
          </p:cNvPr>
          <p:cNvSpPr/>
          <p:nvPr/>
        </p:nvSpPr>
        <p:spPr>
          <a:xfrm>
            <a:off x="10883" y="1291012"/>
            <a:ext cx="12192000" cy="87733"/>
          </a:xfrm>
          <a:prstGeom prst="rect">
            <a:avLst/>
          </a:prstGeom>
          <a:solidFill>
            <a:srgbClr val="9CCF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extBox 1">
            <a:extLst>
              <a:ext uri="{FF2B5EF4-FFF2-40B4-BE49-F238E27FC236}">
                <a16:creationId xmlns:a16="http://schemas.microsoft.com/office/drawing/2014/main" id="{58C64E81-910F-F7CB-EDBF-FBA3CFB90BBE}"/>
              </a:ext>
            </a:extLst>
          </p:cNvPr>
          <p:cNvSpPr txBox="1"/>
          <p:nvPr/>
        </p:nvSpPr>
        <p:spPr>
          <a:xfrm>
            <a:off x="3858288" y="1595021"/>
            <a:ext cx="8033657" cy="4832092"/>
          </a:xfrm>
          <a:prstGeom prst="rect">
            <a:avLst/>
          </a:prstGeom>
          <a:noFill/>
        </p:spPr>
        <p:txBody>
          <a:bodyPr wrap="square" rtlCol="0">
            <a:spAutoFit/>
          </a:bodyPr>
          <a:lstStyle/>
          <a:p>
            <a:pPr marL="457200" indent="-457200">
              <a:buFont typeface="Arial" panose="020B0604020202020204" pitchFamily="34" charset="0"/>
              <a:buChar char="•"/>
            </a:pPr>
            <a:r>
              <a:rPr lang="en-US" sz="2400" b="1" dirty="0"/>
              <a:t>Obsolete Property Rehabilitation Act (OPRA): </a:t>
            </a:r>
            <a:r>
              <a:rPr lang="en-US" sz="2400" dirty="0"/>
              <a:t>For contaminated blighted, functionally obsolete properties. Freezes taxes for 12 years.</a:t>
            </a:r>
          </a:p>
          <a:p>
            <a:pPr marL="457200" indent="-457200">
              <a:buFont typeface="Arial" panose="020B0604020202020204" pitchFamily="34" charset="0"/>
              <a:buChar char="•"/>
            </a:pPr>
            <a:endParaRPr lang="en-US" sz="2400" dirty="0"/>
          </a:p>
          <a:p>
            <a:pPr marL="457200" indent="-457200">
              <a:buFont typeface="Arial" panose="020B0604020202020204" pitchFamily="34" charset="0"/>
              <a:buChar char="•"/>
            </a:pPr>
            <a:r>
              <a:rPr lang="en-US" sz="2400" b="1" dirty="0"/>
              <a:t>Commercial Rehabilitation Act (PA 210): </a:t>
            </a:r>
            <a:r>
              <a:rPr lang="en-US" sz="2400" dirty="0"/>
              <a:t>Rehabilitation in a city, village or township. Property taxes generated from new investment are abated for 10 years. </a:t>
            </a:r>
          </a:p>
          <a:p>
            <a:pPr marL="457200" indent="-457200">
              <a:buFont typeface="Arial" panose="020B0604020202020204" pitchFamily="34" charset="0"/>
              <a:buChar char="•"/>
            </a:pPr>
            <a:endParaRPr lang="en-US" sz="2000" dirty="0"/>
          </a:p>
          <a:p>
            <a:pPr marL="457200" indent="-457200">
              <a:buFont typeface="Arial" panose="020B0604020202020204" pitchFamily="34" charset="0"/>
              <a:buChar char="•"/>
            </a:pPr>
            <a:r>
              <a:rPr lang="en-US" sz="2400" b="1" dirty="0"/>
              <a:t>Commercial Redevelopment Act (PA255): </a:t>
            </a:r>
            <a:r>
              <a:rPr lang="en-US" sz="2400" dirty="0"/>
              <a:t>Replacement, restoration, or new construction of commercial property in city or village. Property taxes generated from new investment are abated for 12 years. </a:t>
            </a:r>
          </a:p>
        </p:txBody>
      </p:sp>
      <p:grpSp>
        <p:nvGrpSpPr>
          <p:cNvPr id="16" name="Group 15">
            <a:extLst>
              <a:ext uri="{FF2B5EF4-FFF2-40B4-BE49-F238E27FC236}">
                <a16:creationId xmlns:a16="http://schemas.microsoft.com/office/drawing/2014/main" id="{846401E4-F61E-EBC4-4A8F-03719EE69FB4}"/>
              </a:ext>
            </a:extLst>
          </p:cNvPr>
          <p:cNvGrpSpPr/>
          <p:nvPr/>
        </p:nvGrpSpPr>
        <p:grpSpPr>
          <a:xfrm>
            <a:off x="599897" y="1866620"/>
            <a:ext cx="2755159" cy="4377484"/>
            <a:chOff x="4774678" y="1655327"/>
            <a:chExt cx="2234341" cy="4377484"/>
          </a:xfrm>
        </p:grpSpPr>
        <p:sp>
          <p:nvSpPr>
            <p:cNvPr id="17" name="Arrow: Pentagon 16">
              <a:extLst>
                <a:ext uri="{FF2B5EF4-FFF2-40B4-BE49-F238E27FC236}">
                  <a16:creationId xmlns:a16="http://schemas.microsoft.com/office/drawing/2014/main" id="{B97037B7-69B6-3497-ED46-C2EF97376CF8}"/>
                </a:ext>
              </a:extLst>
            </p:cNvPr>
            <p:cNvSpPr/>
            <p:nvPr/>
          </p:nvSpPr>
          <p:spPr>
            <a:xfrm rot="5400000">
              <a:off x="3703107" y="2726898"/>
              <a:ext cx="4377484" cy="2234341"/>
            </a:xfrm>
            <a:prstGeom prst="homePlate">
              <a:avLst>
                <a:gd name="adj" fmla="val 18937"/>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640080" tIns="182880" bIns="182880" rtlCol="0" anchor="t"/>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br>
                <a:rPr kumimoji="0" lang="en-US" sz="3200" b="1" i="0" u="none" strike="noStrike" kern="1200" cap="none" spc="0" normalizeH="0" baseline="0" noProof="0" dirty="0">
                  <a:ln>
                    <a:noFill/>
                  </a:ln>
                  <a:solidFill>
                    <a:srgbClr val="FFFFFF"/>
                  </a:solidFill>
                  <a:effectLst/>
                  <a:uLnTx/>
                  <a:uFillTx/>
                  <a:latin typeface="Arial"/>
                  <a:ea typeface="+mn-ea"/>
                  <a:cs typeface="+mn-cs"/>
                </a:rPr>
              </a:br>
              <a:r>
                <a:rPr kumimoji="0" lang="en-US" sz="3200" b="1" i="0" u="none" strike="noStrike" kern="1200" cap="none" spc="0" normalizeH="0" baseline="0" noProof="0" dirty="0">
                  <a:ln>
                    <a:noFill/>
                  </a:ln>
                  <a:solidFill>
                    <a:srgbClr val="FFFFFF"/>
                  </a:solidFill>
                  <a:effectLst/>
                  <a:uLnTx/>
                  <a:uFillTx/>
                  <a:latin typeface="Arial"/>
                  <a:ea typeface="+mn-ea"/>
                  <a:cs typeface="+mn-cs"/>
                </a:rPr>
                <a:t>Local </a:t>
              </a:r>
            </a:p>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n-US" sz="3200" b="1" i="0" u="none" strike="noStrike" kern="1200" cap="none" spc="0" normalizeH="0" baseline="0" noProof="0" dirty="0">
                  <a:ln>
                    <a:noFill/>
                  </a:ln>
                  <a:solidFill>
                    <a:srgbClr val="FFFFFF"/>
                  </a:solidFill>
                  <a:effectLst/>
                  <a:uLnTx/>
                  <a:uFillTx/>
                  <a:latin typeface="Arial"/>
                  <a:ea typeface="+mn-ea"/>
                  <a:cs typeface="+mn-cs"/>
                </a:rPr>
                <a:t>Tax Abatements</a:t>
              </a:r>
            </a:p>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endParaRPr lang="en-US" sz="3200" b="1" dirty="0">
                <a:solidFill>
                  <a:srgbClr val="FFFFFF"/>
                </a:solidFill>
                <a:latin typeface="Arial"/>
              </a:endParaRPr>
            </a:p>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endParaRPr kumimoji="0" lang="en-US" sz="3200" i="0" u="none" strike="noStrike" kern="1200" cap="none" spc="0" normalizeH="0" baseline="0" noProof="0" dirty="0">
                <a:ln>
                  <a:noFill/>
                </a:ln>
                <a:solidFill>
                  <a:srgbClr val="FFFFFF"/>
                </a:solidFill>
                <a:effectLst/>
                <a:uLnTx/>
                <a:uFillTx/>
                <a:latin typeface="Arial"/>
                <a:ea typeface="+mn-ea"/>
                <a:cs typeface="+mn-cs"/>
              </a:endParaRPr>
            </a:p>
          </p:txBody>
        </p:sp>
        <p:pic>
          <p:nvPicPr>
            <p:cNvPr id="18" name="Picture 20" descr="Dollar with solid fill">
              <a:extLst>
                <a:ext uri="{FF2B5EF4-FFF2-40B4-BE49-F238E27FC236}">
                  <a16:creationId xmlns:a16="http://schemas.microsoft.com/office/drawing/2014/main" id="{FB6C69C9-3C98-C04E-0743-D360786649ED}"/>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5589760" y="1827697"/>
              <a:ext cx="673290" cy="746196"/>
            </a:xfrm>
            <a:prstGeom prst="rect">
              <a:avLst/>
            </a:prstGeom>
          </p:spPr>
        </p:pic>
      </p:grpSp>
    </p:spTree>
    <p:extLst>
      <p:ext uri="{BB962C8B-B14F-4D97-AF65-F5344CB8AC3E}">
        <p14:creationId xmlns:p14="http://schemas.microsoft.com/office/powerpoint/2010/main" val="2887084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777BED8-4D0E-4848-BD8B-C5E2D16DB098}"/>
              </a:ext>
            </a:extLst>
          </p:cNvPr>
          <p:cNvSpPr>
            <a:spLocks noGrp="1"/>
          </p:cNvSpPr>
          <p:nvPr>
            <p:ph type="title"/>
          </p:nvPr>
        </p:nvSpPr>
        <p:spPr>
          <a:xfrm>
            <a:off x="0" y="-5811"/>
            <a:ext cx="12192000" cy="1373696"/>
          </a:xfrm>
        </p:spPr>
        <p:txBody>
          <a:bodyPr/>
          <a:lstStyle/>
          <a:p>
            <a:r>
              <a:rPr lang="en-US" sz="3600" b="1" dirty="0">
                <a:latin typeface="Avenir Next LT Pro" panose="020B0504020202020204" pitchFamily="34" charset="0"/>
              </a:rPr>
              <a:t>MEDC Capital Access Tools for Small Businesses</a:t>
            </a:r>
          </a:p>
        </p:txBody>
      </p:sp>
      <p:sp>
        <p:nvSpPr>
          <p:cNvPr id="5" name="TextBox 4">
            <a:extLst>
              <a:ext uri="{FF2B5EF4-FFF2-40B4-BE49-F238E27FC236}">
                <a16:creationId xmlns:a16="http://schemas.microsoft.com/office/drawing/2014/main" id="{68F2E0F8-D3BD-17F2-C92B-01C20F4387DB}"/>
              </a:ext>
            </a:extLst>
          </p:cNvPr>
          <p:cNvSpPr txBox="1"/>
          <p:nvPr/>
        </p:nvSpPr>
        <p:spPr>
          <a:xfrm>
            <a:off x="228599" y="1507187"/>
            <a:ext cx="11734801" cy="5262979"/>
          </a:xfrm>
          <a:prstGeom prst="rect">
            <a:avLst/>
          </a:prstGeom>
          <a:noFill/>
        </p:spPr>
        <p:txBody>
          <a:bodyPr wrap="square" rtlCol="0">
            <a:spAutoFit/>
          </a:bodyPr>
          <a:lstStyle>
            <a:defPPr>
              <a:defRPr lang="en-US"/>
            </a:defPPr>
            <a:lvl1pPr marL="457200" indent="-457200">
              <a:buFont typeface="Arial" panose="020B0604020202020204" pitchFamily="34" charset="0"/>
              <a:buChar char="•"/>
              <a:defRPr sz="2400" b="1"/>
            </a:lvl1pPr>
          </a:lstStyle>
          <a:p>
            <a:pPr marL="0" indent="0">
              <a:buNone/>
            </a:pPr>
            <a:r>
              <a:rPr lang="en-US" dirty="0">
                <a:latin typeface="Aptos" panose="020B0004020202020204" pitchFamily="34" charset="0"/>
              </a:rPr>
              <a:t>The MEDC’s small business team has a variety of capital access tools available to support the capital needs of growing businesses: </a:t>
            </a:r>
          </a:p>
          <a:p>
            <a:endParaRPr lang="en-US" dirty="0">
              <a:latin typeface="Aptos" panose="020B0004020202020204" pitchFamily="34" charset="0"/>
            </a:endParaRPr>
          </a:p>
          <a:p>
            <a:r>
              <a:rPr lang="en-US" dirty="0">
                <a:latin typeface="Aptos" panose="020B0004020202020204" pitchFamily="34" charset="0"/>
              </a:rPr>
              <a:t>Collateral Support Program: </a:t>
            </a:r>
            <a:r>
              <a:rPr lang="en-US" b="0" dirty="0">
                <a:latin typeface="Aptos" panose="020B0004020202020204" pitchFamily="34" charset="0"/>
              </a:rPr>
              <a:t>The program will supply pledged cash collateral accounts to lenders to achieve this goal for approved projects.</a:t>
            </a:r>
          </a:p>
          <a:p>
            <a:endParaRPr lang="en-US" b="0" dirty="0">
              <a:latin typeface="Aptos" panose="020B0004020202020204" pitchFamily="34" charset="0"/>
            </a:endParaRPr>
          </a:p>
          <a:p>
            <a:r>
              <a:rPr lang="en-US" dirty="0">
                <a:latin typeface="Aptos" panose="020B0004020202020204" pitchFamily="34" charset="0"/>
              </a:rPr>
              <a:t>Loan Participation Program: </a:t>
            </a:r>
            <a:r>
              <a:rPr lang="en-US" b="0" dirty="0">
                <a:latin typeface="Aptos" panose="020B0004020202020204" pitchFamily="34" charset="0"/>
              </a:rPr>
              <a:t>The Loan Participation Program seeks to enable companies to acquire the necessary financing that might otherwise be unavailable due to a cash flow shortage according to the lender’s analysis. The program will participate by purchasing a portion of the loan from the lender for approved projects.</a:t>
            </a:r>
          </a:p>
          <a:p>
            <a:endParaRPr lang="en-US" b="0" dirty="0">
              <a:latin typeface="Aptos" panose="020B0004020202020204" pitchFamily="34" charset="0"/>
            </a:endParaRPr>
          </a:p>
          <a:p>
            <a:r>
              <a:rPr lang="en-US" dirty="0">
                <a:latin typeface="Aptos" panose="020B0004020202020204" pitchFamily="34" charset="0"/>
              </a:rPr>
              <a:t>Loan Guarantee Program: </a:t>
            </a:r>
            <a:r>
              <a:rPr lang="en-US" b="0" dirty="0">
                <a:latin typeface="Aptos" panose="020B0004020202020204" pitchFamily="34" charset="0"/>
              </a:rPr>
              <a:t>The program help mitigates a portion of the risk associated with small business lending by providing a partial guarantee to a qualified lender.</a:t>
            </a:r>
          </a:p>
        </p:txBody>
      </p:sp>
    </p:spTree>
    <p:extLst>
      <p:ext uri="{BB962C8B-B14F-4D97-AF65-F5344CB8AC3E}">
        <p14:creationId xmlns:p14="http://schemas.microsoft.com/office/powerpoint/2010/main" val="148119735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white cell phone on a table&#10;&#10;Description automatically generated">
            <a:extLst>
              <a:ext uri="{FF2B5EF4-FFF2-40B4-BE49-F238E27FC236}">
                <a16:creationId xmlns:a16="http://schemas.microsoft.com/office/drawing/2014/main" id="{6E931FC6-BF84-FCF6-7FF6-E9E50CB464E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131" y="0"/>
            <a:ext cx="12091737" cy="6858000"/>
          </a:xfrm>
          <a:prstGeom prst="rect">
            <a:avLst/>
          </a:prstGeom>
        </p:spPr>
      </p:pic>
    </p:spTree>
    <p:extLst>
      <p:ext uri="{BB962C8B-B14F-4D97-AF65-F5344CB8AC3E}">
        <p14:creationId xmlns:p14="http://schemas.microsoft.com/office/powerpoint/2010/main" val="220491428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B555B3BD-78AF-ED70-80DF-0DAC3FBD098D}"/>
              </a:ext>
            </a:extLst>
          </p:cNvPr>
          <p:cNvPicPr>
            <a:picLocks noChangeAspect="1"/>
          </p:cNvPicPr>
          <p:nvPr/>
        </p:nvPicPr>
        <p:blipFill rotWithShape="1">
          <a:blip r:embed="rId3"/>
          <a:srcRect r="444"/>
          <a:stretch/>
        </p:blipFill>
        <p:spPr>
          <a:xfrm>
            <a:off x="0" y="10"/>
            <a:ext cx="12191980" cy="6857990"/>
          </a:xfrm>
          <a:prstGeom prst="rect">
            <a:avLst/>
          </a:prstGeom>
        </p:spPr>
      </p:pic>
    </p:spTree>
    <p:extLst>
      <p:ext uri="{BB962C8B-B14F-4D97-AF65-F5344CB8AC3E}">
        <p14:creationId xmlns:p14="http://schemas.microsoft.com/office/powerpoint/2010/main" val="4373067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A11349D9-E60D-7A08-6055-D4DB80277C24}"/>
              </a:ext>
            </a:extLst>
          </p:cNvPr>
          <p:cNvSpPr txBox="1"/>
          <p:nvPr/>
        </p:nvSpPr>
        <p:spPr>
          <a:xfrm>
            <a:off x="6336606" y="1307690"/>
            <a:ext cx="5610884" cy="4869272"/>
          </a:xfrm>
          <a:prstGeom prst="rect">
            <a:avLst/>
          </a:prstGeom>
        </p:spPr>
        <p:txBody>
          <a:bodyPr vert="horz" lIns="91440" tIns="45720" rIns="91440" bIns="45720" rtlCol="0">
            <a:no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2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Projects: Support Business through job growth in diverse sectors </a:t>
            </a:r>
          </a:p>
          <a:p>
            <a:pPr marL="233363" marR="0" lvl="0" indent="-1190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2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Strengthen competitiveness in key priority sectors and ensure sustained, long-term growth in targeted industries to protect the state against potential economic downturns or recessions.</a:t>
            </a:r>
          </a:p>
          <a:p>
            <a:pPr marL="233363" marR="0" lvl="0" indent="-1190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2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Become a top 10 state for small business growth, revenue growth, and venture capital funding. </a:t>
            </a:r>
            <a:br>
              <a:rPr kumimoji="0" lang="en-US" sz="1400" b="0" i="0" u="none" strike="noStrike" kern="1200" cap="none" spc="-2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br>
            <a:endParaRPr kumimoji="0" lang="en-US" sz="1400" b="1" i="0" u="none" strike="noStrike" kern="1200" cap="none" spc="-2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2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People: Growing the Middle Class by empowering people and reducing barriers to increase incomes </a:t>
            </a:r>
            <a:endParaRPr kumimoji="0" lang="en-US" sz="1400" b="0" i="0" u="none" strike="noStrike" kern="1200" cap="none" spc="-2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endParaRPr>
          </a:p>
          <a:p>
            <a:pPr marL="233363" marR="0" lvl="0" indent="-1190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2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Support increased labor force participation, training and upskilling, as well as inbound talent attraction. </a:t>
            </a:r>
          </a:p>
          <a:p>
            <a:pPr marL="233363" marR="0" lvl="0" indent="-1190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2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Uplift 100,000 families out of working poverty and close equity gaps.</a:t>
            </a:r>
          </a:p>
          <a:p>
            <a:pPr marL="233363" marR="0" lvl="0" indent="-1190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2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Support goal of 60% of adults with a postsecondary credential by 2030. </a:t>
            </a:r>
            <a:br>
              <a:rPr kumimoji="0" lang="en-US" sz="1400" b="0" i="0" u="none" strike="noStrike" kern="1200" cap="none" spc="-2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br>
            <a:endParaRPr kumimoji="0" lang="en-US" sz="1400" b="0" i="0" u="none" strike="noStrike" kern="1200" cap="none" spc="-2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2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Places: Invest in Michigan’s community with high quality infrastructure that supports quality of life for all </a:t>
            </a:r>
            <a:endParaRPr kumimoji="0" lang="en-US" sz="1400" b="0" i="0" u="none" strike="noStrike" kern="1200" cap="none" spc="-2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endParaRPr>
          </a:p>
          <a:p>
            <a:pPr marL="233363" marR="0" lvl="0" indent="-1190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2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Provide access to low or no cost childcare to 150,000 families.</a:t>
            </a:r>
          </a:p>
          <a:p>
            <a:pPr marL="233363" marR="0" lvl="0" indent="-1190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2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Build or rehabilitate 75,000 housing units.</a:t>
            </a:r>
          </a:p>
          <a:p>
            <a:pPr marL="233363" marR="0" lvl="0" indent="-119063"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400" b="0" i="0" u="none" strike="noStrike" kern="1200" cap="none" spc="-20" normalizeH="0" baseline="0" noProof="0" dirty="0">
                <a:ln>
                  <a:noFill/>
                </a:ln>
                <a:solidFill>
                  <a:srgbClr val="000000"/>
                </a:solidFill>
                <a:effectLst/>
                <a:uLnTx/>
                <a:uFillTx/>
                <a:latin typeface="Arial" panose="020B0604020202020204" pitchFamily="34" charset="0"/>
                <a:ea typeface="Calibri" panose="020F0502020204030204" pitchFamily="34" charset="0"/>
                <a:cs typeface="Arial" panose="020B0604020202020204" pitchFamily="34" charset="0"/>
              </a:rPr>
              <a:t>Connect every resident to high-speed internet</a:t>
            </a:r>
            <a:r>
              <a:rPr kumimoji="0" lang="en-US" sz="1300" b="0" i="0" u="none" strike="noStrike" kern="1200" cap="none" spc="-20" normalizeH="0" baseline="0" noProof="0" dirty="0">
                <a:ln>
                  <a:noFill/>
                </a:ln>
                <a:solidFill>
                  <a:srgbClr val="000000"/>
                </a:solidFill>
                <a:effectLst/>
                <a:uLnTx/>
                <a:uFillTx/>
                <a:latin typeface="Arial" panose="020B0604020202020204" pitchFamily="34" charset="0"/>
                <a:cs typeface="Arial" panose="020B0604020202020204" pitchFamily="34" charset="0"/>
              </a:rPr>
              <a:t>.</a:t>
            </a:r>
          </a:p>
        </p:txBody>
      </p:sp>
      <p:pic>
        <p:nvPicPr>
          <p:cNvPr id="1030" name="Picture 6" descr="G Make it in Michigan">
            <a:extLst>
              <a:ext uri="{FF2B5EF4-FFF2-40B4-BE49-F238E27FC236}">
                <a16:creationId xmlns:a16="http://schemas.microsoft.com/office/drawing/2014/main" id="{B525B844-9D69-61D4-231E-A4D8216DF004}"/>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19551" t="-1" r="30756" b="-1"/>
          <a:stretch/>
        </p:blipFill>
        <p:spPr bwMode="auto">
          <a:xfrm>
            <a:off x="0" y="10"/>
            <a:ext cx="5105400" cy="6857990"/>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ACDC720F-9C42-F3E6-8C73-6C910A301ACE}"/>
              </a:ext>
            </a:extLst>
          </p:cNvPr>
          <p:cNvSpPr txBox="1"/>
          <p:nvPr/>
        </p:nvSpPr>
        <p:spPr>
          <a:xfrm>
            <a:off x="5357695" y="225036"/>
            <a:ext cx="6502421" cy="830997"/>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srgbClr val="002476"/>
                </a:solidFill>
                <a:effectLst/>
                <a:uLnTx/>
                <a:uFillTx/>
                <a:latin typeface="Aptos Black" panose="020B0004020202020204" pitchFamily="34" charset="0"/>
              </a:rPr>
              <a:t>MAKE IT IN MICHIGAN</a:t>
            </a:r>
          </a:p>
        </p:txBody>
      </p:sp>
      <p:pic>
        <p:nvPicPr>
          <p:cNvPr id="2" name="Graphic 1">
            <a:extLst>
              <a:ext uri="{FF2B5EF4-FFF2-40B4-BE49-F238E27FC236}">
                <a16:creationId xmlns:a16="http://schemas.microsoft.com/office/drawing/2014/main" id="{93B5CE7D-BFAC-41F7-83F7-AF3E512EA70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5656817" y="1206310"/>
            <a:ext cx="583989" cy="519101"/>
          </a:xfrm>
          <a:prstGeom prst="rect">
            <a:avLst/>
          </a:prstGeom>
        </p:spPr>
      </p:pic>
      <p:pic>
        <p:nvPicPr>
          <p:cNvPr id="3" name="Graphic 2">
            <a:extLst>
              <a:ext uri="{FF2B5EF4-FFF2-40B4-BE49-F238E27FC236}">
                <a16:creationId xmlns:a16="http://schemas.microsoft.com/office/drawing/2014/main" id="{53344B57-5A4F-6434-11CE-1AD86A08873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656817" y="5246477"/>
            <a:ext cx="583989" cy="519101"/>
          </a:xfrm>
          <a:prstGeom prst="rect">
            <a:avLst/>
          </a:prstGeom>
        </p:spPr>
      </p:pic>
      <p:pic>
        <p:nvPicPr>
          <p:cNvPr id="4" name="Graphic 3">
            <a:extLst>
              <a:ext uri="{FF2B5EF4-FFF2-40B4-BE49-F238E27FC236}">
                <a16:creationId xmlns:a16="http://schemas.microsoft.com/office/drawing/2014/main" id="{C370BC7B-9BD6-98EC-4B32-41B94ED9163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591931" y="3041629"/>
            <a:ext cx="648876" cy="519101"/>
          </a:xfrm>
          <a:prstGeom prst="rect">
            <a:avLst/>
          </a:prstGeom>
        </p:spPr>
      </p:pic>
    </p:spTree>
    <p:extLst>
      <p:ext uri="{BB962C8B-B14F-4D97-AF65-F5344CB8AC3E}">
        <p14:creationId xmlns:p14="http://schemas.microsoft.com/office/powerpoint/2010/main" val="353648386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group of people walking on a sidewalk&#10;&#10;Description automatically generated with low confidence">
            <a:extLst>
              <a:ext uri="{FF2B5EF4-FFF2-40B4-BE49-F238E27FC236}">
                <a16:creationId xmlns:a16="http://schemas.microsoft.com/office/drawing/2014/main" id="{CEC19BD4-C1B2-F9FB-0E6D-6C71E2158A17}"/>
              </a:ext>
            </a:extLst>
          </p:cNvPr>
          <p:cNvPicPr>
            <a:picLocks noChangeAspect="1"/>
          </p:cNvPicPr>
          <p:nvPr/>
        </p:nvPicPr>
        <p:blipFill rotWithShape="1">
          <a:blip r:embed="rId3">
            <a:extLst>
              <a:ext uri="{28A0092B-C50C-407E-A947-70E740481C1C}">
                <a14:useLocalDpi xmlns:a14="http://schemas.microsoft.com/office/drawing/2010/main" val="0"/>
              </a:ext>
            </a:extLst>
          </a:blip>
          <a:srcRect b="6302"/>
          <a:stretch/>
        </p:blipFill>
        <p:spPr>
          <a:xfrm>
            <a:off x="0" y="0"/>
            <a:ext cx="12192000" cy="6858000"/>
          </a:xfrm>
          <a:prstGeom prst="rect">
            <a:avLst/>
          </a:prstGeom>
        </p:spPr>
      </p:pic>
      <p:sp>
        <p:nvSpPr>
          <p:cNvPr id="3" name="Rectangle 2">
            <a:extLst>
              <a:ext uri="{FF2B5EF4-FFF2-40B4-BE49-F238E27FC236}">
                <a16:creationId xmlns:a16="http://schemas.microsoft.com/office/drawing/2014/main" id="{346F6FE9-DE70-D2F0-C974-6FC2AF437685}"/>
              </a:ext>
            </a:extLst>
          </p:cNvPr>
          <p:cNvSpPr/>
          <p:nvPr/>
        </p:nvSpPr>
        <p:spPr>
          <a:xfrm flipH="1">
            <a:off x="0" y="0"/>
            <a:ext cx="2989332" cy="6858000"/>
          </a:xfrm>
          <a:prstGeom prst="rect">
            <a:avLst/>
          </a:prstGeom>
          <a:solidFill>
            <a:srgbClr val="001D59">
              <a:alpha val="8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3200" b="1" dirty="0">
                <a:solidFill>
                  <a:schemeClr val="bg1"/>
                </a:solidFill>
                <a:latin typeface="Aptos Black" panose="020B0004020202020204" pitchFamily="34" charset="0"/>
                <a:ea typeface="+mj-ea"/>
              </a:rPr>
              <a:t>DEVELOPING ATTRACTIVE PLAC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Arial Black" panose="020B0A04020102020204" pitchFamily="34" charset="0"/>
              <a:ea typeface="+mn-ea"/>
              <a:cs typeface="+mn-cs"/>
            </a:endParaRPr>
          </a:p>
          <a:p>
            <a:pPr algn="ctr">
              <a:defRPr/>
            </a:pPr>
            <a:r>
              <a:rPr lang="en-US" b="1" dirty="0">
                <a:solidFill>
                  <a:srgbClr val="FFFFFF"/>
                </a:solidFill>
                <a:latin typeface="Aptos Narrow" panose="020B0004020202020204" pitchFamily="34" charset="0"/>
              </a:rPr>
              <a:t>Supporting the </a:t>
            </a:r>
          </a:p>
          <a:p>
            <a:pPr algn="ctr">
              <a:defRPr/>
            </a:pPr>
            <a:r>
              <a:rPr lang="en-US" b="1" dirty="0">
                <a:solidFill>
                  <a:srgbClr val="FFFFFF"/>
                </a:solidFill>
                <a:latin typeface="Aptos Narrow" panose="020B0004020202020204" pitchFamily="34" charset="0"/>
              </a:rPr>
              <a:t>growth of vibrant, diverse, and resilient communities across Michigan.</a:t>
            </a:r>
          </a:p>
        </p:txBody>
      </p:sp>
    </p:spTree>
    <p:extLst>
      <p:ext uri="{BB962C8B-B14F-4D97-AF65-F5344CB8AC3E}">
        <p14:creationId xmlns:p14="http://schemas.microsoft.com/office/powerpoint/2010/main" val="368483979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767FC97-62E4-DCA6-66DE-8A864F752951}"/>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173EFDF-CB1B-3100-133C-A080ADDB1CA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8173EFDF-CB1B-3100-133C-A080ADDB1CA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932DFA08-FB01-0312-5E11-38BA9107AE17}"/>
              </a:ext>
            </a:extLst>
          </p:cNvPr>
          <p:cNvGrpSpPr/>
          <p:nvPr/>
        </p:nvGrpSpPr>
        <p:grpSpPr>
          <a:xfrm>
            <a:off x="11660635" y="1104552"/>
            <a:ext cx="144734" cy="128417"/>
            <a:chOff x="11633817" y="1102402"/>
            <a:chExt cx="231147" cy="205087"/>
          </a:xfrm>
        </p:grpSpPr>
        <p:sp>
          <p:nvSpPr>
            <p:cNvPr id="151" name="Freeform 19">
              <a:extLst>
                <a:ext uri="{FF2B5EF4-FFF2-40B4-BE49-F238E27FC236}">
                  <a16:creationId xmlns:a16="http://schemas.microsoft.com/office/drawing/2014/main" id="{7C1FB25E-647C-0919-DE5F-9082DCA7B8C2}"/>
                </a:ext>
              </a:extLst>
            </p:cNvPr>
            <p:cNvSpPr>
              <a:spLocks/>
            </p:cNvSpPr>
            <p:nvPr/>
          </p:nvSpPr>
          <p:spPr bwMode="auto">
            <a:xfrm>
              <a:off x="11676657" y="1169876"/>
              <a:ext cx="83691" cy="29778"/>
            </a:xfrm>
            <a:custGeom>
              <a:avLst/>
              <a:gdLst>
                <a:gd name="T0" fmla="*/ 107 w 206"/>
                <a:gd name="T1" fmla="*/ 77 h 77"/>
                <a:gd name="T2" fmla="*/ 107 w 206"/>
                <a:gd name="T3" fmla="*/ 77 h 77"/>
                <a:gd name="T4" fmla="*/ 106 w 206"/>
                <a:gd name="T5" fmla="*/ 77 h 77"/>
                <a:gd name="T6" fmla="*/ 5 w 206"/>
                <a:gd name="T7" fmla="*/ 26 h 77"/>
                <a:gd name="T8" fmla="*/ 8 w 206"/>
                <a:gd name="T9" fmla="*/ 5 h 77"/>
                <a:gd name="T10" fmla="*/ 29 w 206"/>
                <a:gd name="T11" fmla="*/ 8 h 77"/>
                <a:gd name="T12" fmla="*/ 107 w 206"/>
                <a:gd name="T13" fmla="*/ 46 h 77"/>
                <a:gd name="T14" fmla="*/ 177 w 206"/>
                <a:gd name="T15" fmla="*/ 7 h 77"/>
                <a:gd name="T16" fmla="*/ 199 w 206"/>
                <a:gd name="T17" fmla="*/ 5 h 77"/>
                <a:gd name="T18" fmla="*/ 201 w 206"/>
                <a:gd name="T19" fmla="*/ 26 h 77"/>
                <a:gd name="T20" fmla="*/ 107 w 206"/>
                <a:gd name="T21"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6" h="77">
                  <a:moveTo>
                    <a:pt x="107" y="77"/>
                  </a:moveTo>
                  <a:cubicBezTo>
                    <a:pt x="107" y="77"/>
                    <a:pt x="107" y="77"/>
                    <a:pt x="107" y="77"/>
                  </a:cubicBezTo>
                  <a:cubicBezTo>
                    <a:pt x="106" y="77"/>
                    <a:pt x="106" y="77"/>
                    <a:pt x="106" y="77"/>
                  </a:cubicBezTo>
                  <a:cubicBezTo>
                    <a:pt x="52" y="74"/>
                    <a:pt x="13" y="36"/>
                    <a:pt x="5" y="26"/>
                  </a:cubicBezTo>
                  <a:cubicBezTo>
                    <a:pt x="0" y="19"/>
                    <a:pt x="1" y="10"/>
                    <a:pt x="8" y="5"/>
                  </a:cubicBezTo>
                  <a:cubicBezTo>
                    <a:pt x="15" y="0"/>
                    <a:pt x="24" y="1"/>
                    <a:pt x="29" y="8"/>
                  </a:cubicBezTo>
                  <a:cubicBezTo>
                    <a:pt x="34" y="14"/>
                    <a:pt x="66" y="44"/>
                    <a:pt x="107" y="46"/>
                  </a:cubicBezTo>
                  <a:cubicBezTo>
                    <a:pt x="145" y="46"/>
                    <a:pt x="177" y="8"/>
                    <a:pt x="177" y="7"/>
                  </a:cubicBezTo>
                  <a:cubicBezTo>
                    <a:pt x="182" y="1"/>
                    <a:pt x="192" y="0"/>
                    <a:pt x="199" y="5"/>
                  </a:cubicBezTo>
                  <a:cubicBezTo>
                    <a:pt x="205" y="10"/>
                    <a:pt x="206" y="20"/>
                    <a:pt x="201" y="26"/>
                  </a:cubicBezTo>
                  <a:cubicBezTo>
                    <a:pt x="199" y="28"/>
                    <a:pt x="160" y="77"/>
                    <a:pt x="107" y="7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a:ln>
                  <a:noFill/>
                </a:ln>
                <a:solidFill>
                  <a:srgbClr val="000000"/>
                </a:solidFill>
                <a:effectLst/>
                <a:uLnTx/>
                <a:uFillTx/>
                <a:latin typeface="Aptos Narrow" panose="020B0004020202020204" pitchFamily="34" charset="0"/>
              </a:endParaRPr>
            </a:p>
          </p:txBody>
        </p:sp>
        <p:sp>
          <p:nvSpPr>
            <p:cNvPr id="152" name="Freeform 20">
              <a:extLst>
                <a:ext uri="{FF2B5EF4-FFF2-40B4-BE49-F238E27FC236}">
                  <a16:creationId xmlns:a16="http://schemas.microsoft.com/office/drawing/2014/main" id="{AF3FB5D8-BE05-7191-2910-2002C9D0E412}"/>
                </a:ext>
              </a:extLst>
            </p:cNvPr>
            <p:cNvSpPr>
              <a:spLocks noEditPoints="1"/>
            </p:cNvSpPr>
            <p:nvPr/>
          </p:nvSpPr>
          <p:spPr bwMode="auto">
            <a:xfrm>
              <a:off x="11633817" y="1102402"/>
              <a:ext cx="231147" cy="205087"/>
            </a:xfrm>
            <a:custGeom>
              <a:avLst/>
              <a:gdLst>
                <a:gd name="T0" fmla="*/ 550 w 570"/>
                <a:gd name="T1" fmla="*/ 406 h 524"/>
                <a:gd name="T2" fmla="*/ 397 w 570"/>
                <a:gd name="T3" fmla="*/ 305 h 524"/>
                <a:gd name="T4" fmla="*/ 395 w 570"/>
                <a:gd name="T5" fmla="*/ 304 h 524"/>
                <a:gd name="T6" fmla="*/ 418 w 570"/>
                <a:gd name="T7" fmla="*/ 209 h 524"/>
                <a:gd name="T8" fmla="*/ 209 w 570"/>
                <a:gd name="T9" fmla="*/ 0 h 524"/>
                <a:gd name="T10" fmla="*/ 0 w 570"/>
                <a:gd name="T11" fmla="*/ 209 h 524"/>
                <a:gd name="T12" fmla="*/ 209 w 570"/>
                <a:gd name="T13" fmla="*/ 418 h 524"/>
                <a:gd name="T14" fmla="*/ 336 w 570"/>
                <a:gd name="T15" fmla="*/ 375 h 524"/>
                <a:gd name="T16" fmla="*/ 337 w 570"/>
                <a:gd name="T17" fmla="*/ 376 h 524"/>
                <a:gd name="T18" fmla="*/ 464 w 570"/>
                <a:gd name="T19" fmla="*/ 510 h 524"/>
                <a:gd name="T20" fmla="*/ 520 w 570"/>
                <a:gd name="T21" fmla="*/ 505 h 524"/>
                <a:gd name="T22" fmla="*/ 556 w 570"/>
                <a:gd name="T23" fmla="*/ 462 h 524"/>
                <a:gd name="T24" fmla="*/ 550 w 570"/>
                <a:gd name="T25" fmla="*/ 406 h 524"/>
                <a:gd name="T26" fmla="*/ 209 w 570"/>
                <a:gd name="T27" fmla="*/ 364 h 524"/>
                <a:gd name="T28" fmla="*/ 54 w 570"/>
                <a:gd name="T29" fmla="*/ 209 h 524"/>
                <a:gd name="T30" fmla="*/ 209 w 570"/>
                <a:gd name="T31" fmla="*/ 54 h 524"/>
                <a:gd name="T32" fmla="*/ 364 w 570"/>
                <a:gd name="T33" fmla="*/ 209 h 524"/>
                <a:gd name="T34" fmla="*/ 209 w 570"/>
                <a:gd name="T35" fmla="*/ 36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0" h="524">
                  <a:moveTo>
                    <a:pt x="550" y="406"/>
                  </a:moveTo>
                  <a:cubicBezTo>
                    <a:pt x="397" y="305"/>
                    <a:pt x="397" y="305"/>
                    <a:pt x="397" y="305"/>
                  </a:cubicBezTo>
                  <a:cubicBezTo>
                    <a:pt x="396" y="305"/>
                    <a:pt x="396" y="304"/>
                    <a:pt x="395" y="304"/>
                  </a:cubicBezTo>
                  <a:cubicBezTo>
                    <a:pt x="410" y="276"/>
                    <a:pt x="418" y="243"/>
                    <a:pt x="418" y="209"/>
                  </a:cubicBezTo>
                  <a:cubicBezTo>
                    <a:pt x="418" y="94"/>
                    <a:pt x="324" y="0"/>
                    <a:pt x="209" y="0"/>
                  </a:cubicBezTo>
                  <a:cubicBezTo>
                    <a:pt x="94" y="0"/>
                    <a:pt x="0" y="94"/>
                    <a:pt x="0" y="209"/>
                  </a:cubicBezTo>
                  <a:cubicBezTo>
                    <a:pt x="0" y="324"/>
                    <a:pt x="94" y="418"/>
                    <a:pt x="209" y="418"/>
                  </a:cubicBezTo>
                  <a:cubicBezTo>
                    <a:pt x="257" y="418"/>
                    <a:pt x="301" y="402"/>
                    <a:pt x="336" y="375"/>
                  </a:cubicBezTo>
                  <a:cubicBezTo>
                    <a:pt x="336" y="375"/>
                    <a:pt x="337" y="376"/>
                    <a:pt x="337" y="376"/>
                  </a:cubicBezTo>
                  <a:cubicBezTo>
                    <a:pt x="464" y="510"/>
                    <a:pt x="464" y="510"/>
                    <a:pt x="464" y="510"/>
                  </a:cubicBezTo>
                  <a:cubicBezTo>
                    <a:pt x="481" y="524"/>
                    <a:pt x="506" y="522"/>
                    <a:pt x="520" y="505"/>
                  </a:cubicBezTo>
                  <a:cubicBezTo>
                    <a:pt x="556" y="462"/>
                    <a:pt x="556" y="462"/>
                    <a:pt x="556" y="462"/>
                  </a:cubicBezTo>
                  <a:cubicBezTo>
                    <a:pt x="570" y="445"/>
                    <a:pt x="567" y="420"/>
                    <a:pt x="550" y="406"/>
                  </a:cubicBezTo>
                  <a:close/>
                  <a:moveTo>
                    <a:pt x="209" y="364"/>
                  </a:moveTo>
                  <a:cubicBezTo>
                    <a:pt x="123" y="364"/>
                    <a:pt x="54" y="295"/>
                    <a:pt x="54" y="209"/>
                  </a:cubicBezTo>
                  <a:cubicBezTo>
                    <a:pt x="54" y="124"/>
                    <a:pt x="123" y="54"/>
                    <a:pt x="209" y="54"/>
                  </a:cubicBezTo>
                  <a:cubicBezTo>
                    <a:pt x="295" y="54"/>
                    <a:pt x="364" y="124"/>
                    <a:pt x="364" y="209"/>
                  </a:cubicBezTo>
                  <a:cubicBezTo>
                    <a:pt x="364" y="295"/>
                    <a:pt x="295" y="364"/>
                    <a:pt x="209" y="36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a:ln>
                  <a:noFill/>
                </a:ln>
                <a:solidFill>
                  <a:srgbClr val="000000"/>
                </a:solidFill>
                <a:effectLst/>
                <a:uLnTx/>
                <a:uFillTx/>
                <a:latin typeface="Aptos Narrow" panose="020B0004020202020204" pitchFamily="34" charset="0"/>
              </a:endParaRPr>
            </a:p>
          </p:txBody>
        </p:sp>
      </p:grpSp>
      <p:grpSp>
        <p:nvGrpSpPr>
          <p:cNvPr id="226" name="Group 225">
            <a:extLst>
              <a:ext uri="{FF2B5EF4-FFF2-40B4-BE49-F238E27FC236}">
                <a16:creationId xmlns:a16="http://schemas.microsoft.com/office/drawing/2014/main" id="{D566420A-FA1B-99E2-A16A-752C22E38007}"/>
              </a:ext>
            </a:extLst>
          </p:cNvPr>
          <p:cNvGrpSpPr/>
          <p:nvPr/>
        </p:nvGrpSpPr>
        <p:grpSpPr>
          <a:xfrm>
            <a:off x="5713706" y="1094902"/>
            <a:ext cx="170146" cy="178230"/>
            <a:chOff x="5673258" y="927146"/>
            <a:chExt cx="251042" cy="262970"/>
          </a:xfrm>
        </p:grpSpPr>
        <p:sp>
          <p:nvSpPr>
            <p:cNvPr id="200" name="Freeform 14">
              <a:extLst>
                <a:ext uri="{FF2B5EF4-FFF2-40B4-BE49-F238E27FC236}">
                  <a16:creationId xmlns:a16="http://schemas.microsoft.com/office/drawing/2014/main" id="{0C52F719-BF73-88AE-AC19-9BC2D8926200}"/>
                </a:ext>
              </a:extLst>
            </p:cNvPr>
            <p:cNvSpPr>
              <a:spLocks noEditPoints="1"/>
            </p:cNvSpPr>
            <p:nvPr/>
          </p:nvSpPr>
          <p:spPr bwMode="auto">
            <a:xfrm>
              <a:off x="5785978" y="927146"/>
              <a:ext cx="128800" cy="125036"/>
            </a:xfrm>
            <a:custGeom>
              <a:avLst/>
              <a:gdLst>
                <a:gd name="T0" fmla="*/ 203 w 203"/>
                <a:gd name="T1" fmla="*/ 121 h 204"/>
                <a:gd name="T2" fmla="*/ 203 w 203"/>
                <a:gd name="T3" fmla="*/ 83 h 204"/>
                <a:gd name="T4" fmla="*/ 177 w 203"/>
                <a:gd name="T5" fmla="*/ 79 h 204"/>
                <a:gd name="T6" fmla="*/ 171 w 203"/>
                <a:gd name="T7" fmla="*/ 66 h 204"/>
                <a:gd name="T8" fmla="*/ 187 w 203"/>
                <a:gd name="T9" fmla="*/ 44 h 204"/>
                <a:gd name="T10" fmla="*/ 160 w 203"/>
                <a:gd name="T11" fmla="*/ 17 h 204"/>
                <a:gd name="T12" fmla="*/ 138 w 203"/>
                <a:gd name="T13" fmla="*/ 32 h 204"/>
                <a:gd name="T14" fmla="*/ 125 w 203"/>
                <a:gd name="T15" fmla="*/ 27 h 204"/>
                <a:gd name="T16" fmla="*/ 120 w 203"/>
                <a:gd name="T17" fmla="*/ 0 h 204"/>
                <a:gd name="T18" fmla="*/ 83 w 203"/>
                <a:gd name="T19" fmla="*/ 0 h 204"/>
                <a:gd name="T20" fmla="*/ 78 w 203"/>
                <a:gd name="T21" fmla="*/ 27 h 204"/>
                <a:gd name="T22" fmla="*/ 65 w 203"/>
                <a:gd name="T23" fmla="*/ 32 h 204"/>
                <a:gd name="T24" fmla="*/ 43 w 203"/>
                <a:gd name="T25" fmla="*/ 17 h 204"/>
                <a:gd name="T26" fmla="*/ 16 w 203"/>
                <a:gd name="T27" fmla="*/ 44 h 204"/>
                <a:gd name="T28" fmla="*/ 32 w 203"/>
                <a:gd name="T29" fmla="*/ 66 h 204"/>
                <a:gd name="T30" fmla="*/ 27 w 203"/>
                <a:gd name="T31" fmla="*/ 79 h 204"/>
                <a:gd name="T32" fmla="*/ 0 w 203"/>
                <a:gd name="T33" fmla="*/ 83 h 204"/>
                <a:gd name="T34" fmla="*/ 0 w 203"/>
                <a:gd name="T35" fmla="*/ 121 h 204"/>
                <a:gd name="T36" fmla="*/ 27 w 203"/>
                <a:gd name="T37" fmla="*/ 125 h 204"/>
                <a:gd name="T38" fmla="*/ 32 w 203"/>
                <a:gd name="T39" fmla="*/ 139 h 204"/>
                <a:gd name="T40" fmla="*/ 16 w 203"/>
                <a:gd name="T41" fmla="*/ 161 h 204"/>
                <a:gd name="T42" fmla="*/ 43 w 203"/>
                <a:gd name="T43" fmla="*/ 187 h 204"/>
                <a:gd name="T44" fmla="*/ 65 w 203"/>
                <a:gd name="T45" fmla="*/ 172 h 204"/>
                <a:gd name="T46" fmla="*/ 78 w 203"/>
                <a:gd name="T47" fmla="*/ 177 h 204"/>
                <a:gd name="T48" fmla="*/ 83 w 203"/>
                <a:gd name="T49" fmla="*/ 204 h 204"/>
                <a:gd name="T50" fmla="*/ 120 w 203"/>
                <a:gd name="T51" fmla="*/ 204 h 204"/>
                <a:gd name="T52" fmla="*/ 125 w 203"/>
                <a:gd name="T53" fmla="*/ 177 h 204"/>
                <a:gd name="T54" fmla="*/ 138 w 203"/>
                <a:gd name="T55" fmla="*/ 172 h 204"/>
                <a:gd name="T56" fmla="*/ 160 w 203"/>
                <a:gd name="T57" fmla="*/ 187 h 204"/>
                <a:gd name="T58" fmla="*/ 187 w 203"/>
                <a:gd name="T59" fmla="*/ 161 h 204"/>
                <a:gd name="T60" fmla="*/ 171 w 203"/>
                <a:gd name="T61" fmla="*/ 139 h 204"/>
                <a:gd name="T62" fmla="*/ 177 w 203"/>
                <a:gd name="T63" fmla="*/ 125 h 204"/>
                <a:gd name="T64" fmla="*/ 203 w 203"/>
                <a:gd name="T65" fmla="*/ 121 h 204"/>
                <a:gd name="T66" fmla="*/ 102 w 203"/>
                <a:gd name="T67" fmla="*/ 136 h 204"/>
                <a:gd name="T68" fmla="*/ 68 w 203"/>
                <a:gd name="T69" fmla="*/ 102 h 204"/>
                <a:gd name="T70" fmla="*/ 102 w 203"/>
                <a:gd name="T71" fmla="*/ 69 h 204"/>
                <a:gd name="T72" fmla="*/ 135 w 203"/>
                <a:gd name="T73" fmla="*/ 102 h 204"/>
                <a:gd name="T74" fmla="*/ 102 w 203"/>
                <a:gd name="T75" fmla="*/ 13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3" h="204">
                  <a:moveTo>
                    <a:pt x="203" y="121"/>
                  </a:moveTo>
                  <a:cubicBezTo>
                    <a:pt x="203" y="83"/>
                    <a:pt x="203" y="83"/>
                    <a:pt x="203" y="83"/>
                  </a:cubicBezTo>
                  <a:cubicBezTo>
                    <a:pt x="177" y="79"/>
                    <a:pt x="177" y="79"/>
                    <a:pt x="177" y="79"/>
                  </a:cubicBezTo>
                  <a:cubicBezTo>
                    <a:pt x="175" y="74"/>
                    <a:pt x="173" y="70"/>
                    <a:pt x="171" y="66"/>
                  </a:cubicBezTo>
                  <a:cubicBezTo>
                    <a:pt x="187" y="44"/>
                    <a:pt x="187" y="44"/>
                    <a:pt x="187" y="44"/>
                  </a:cubicBezTo>
                  <a:cubicBezTo>
                    <a:pt x="160" y="17"/>
                    <a:pt x="160" y="17"/>
                    <a:pt x="160" y="17"/>
                  </a:cubicBezTo>
                  <a:cubicBezTo>
                    <a:pt x="138" y="32"/>
                    <a:pt x="138" y="32"/>
                    <a:pt x="138" y="32"/>
                  </a:cubicBezTo>
                  <a:cubicBezTo>
                    <a:pt x="134" y="30"/>
                    <a:pt x="130" y="28"/>
                    <a:pt x="125" y="27"/>
                  </a:cubicBezTo>
                  <a:cubicBezTo>
                    <a:pt x="120" y="0"/>
                    <a:pt x="120" y="0"/>
                    <a:pt x="120" y="0"/>
                  </a:cubicBezTo>
                  <a:cubicBezTo>
                    <a:pt x="83" y="0"/>
                    <a:pt x="83" y="0"/>
                    <a:pt x="83" y="0"/>
                  </a:cubicBezTo>
                  <a:cubicBezTo>
                    <a:pt x="78" y="27"/>
                    <a:pt x="78" y="27"/>
                    <a:pt x="78" y="27"/>
                  </a:cubicBezTo>
                  <a:cubicBezTo>
                    <a:pt x="74" y="28"/>
                    <a:pt x="69" y="30"/>
                    <a:pt x="65" y="32"/>
                  </a:cubicBezTo>
                  <a:cubicBezTo>
                    <a:pt x="43" y="17"/>
                    <a:pt x="43" y="17"/>
                    <a:pt x="43" y="17"/>
                  </a:cubicBezTo>
                  <a:cubicBezTo>
                    <a:pt x="16" y="44"/>
                    <a:pt x="16" y="44"/>
                    <a:pt x="16" y="44"/>
                  </a:cubicBezTo>
                  <a:cubicBezTo>
                    <a:pt x="32" y="66"/>
                    <a:pt x="32" y="66"/>
                    <a:pt x="32" y="66"/>
                  </a:cubicBezTo>
                  <a:cubicBezTo>
                    <a:pt x="30" y="70"/>
                    <a:pt x="28" y="74"/>
                    <a:pt x="27" y="79"/>
                  </a:cubicBezTo>
                  <a:cubicBezTo>
                    <a:pt x="0" y="83"/>
                    <a:pt x="0" y="83"/>
                    <a:pt x="0" y="83"/>
                  </a:cubicBezTo>
                  <a:cubicBezTo>
                    <a:pt x="0" y="121"/>
                    <a:pt x="0" y="121"/>
                    <a:pt x="0" y="121"/>
                  </a:cubicBezTo>
                  <a:cubicBezTo>
                    <a:pt x="27" y="125"/>
                    <a:pt x="27" y="125"/>
                    <a:pt x="27" y="125"/>
                  </a:cubicBezTo>
                  <a:cubicBezTo>
                    <a:pt x="28" y="130"/>
                    <a:pt x="30" y="134"/>
                    <a:pt x="32" y="139"/>
                  </a:cubicBezTo>
                  <a:cubicBezTo>
                    <a:pt x="16" y="161"/>
                    <a:pt x="16" y="161"/>
                    <a:pt x="16" y="161"/>
                  </a:cubicBezTo>
                  <a:cubicBezTo>
                    <a:pt x="43" y="187"/>
                    <a:pt x="43" y="187"/>
                    <a:pt x="43" y="187"/>
                  </a:cubicBezTo>
                  <a:cubicBezTo>
                    <a:pt x="65" y="172"/>
                    <a:pt x="65" y="172"/>
                    <a:pt x="65" y="172"/>
                  </a:cubicBezTo>
                  <a:cubicBezTo>
                    <a:pt x="69" y="174"/>
                    <a:pt x="74" y="176"/>
                    <a:pt x="78" y="177"/>
                  </a:cubicBezTo>
                  <a:cubicBezTo>
                    <a:pt x="83" y="204"/>
                    <a:pt x="83" y="204"/>
                    <a:pt x="83" y="204"/>
                  </a:cubicBezTo>
                  <a:cubicBezTo>
                    <a:pt x="120" y="204"/>
                    <a:pt x="120" y="204"/>
                    <a:pt x="120" y="204"/>
                  </a:cubicBezTo>
                  <a:cubicBezTo>
                    <a:pt x="125" y="177"/>
                    <a:pt x="125" y="177"/>
                    <a:pt x="125" y="177"/>
                  </a:cubicBezTo>
                  <a:cubicBezTo>
                    <a:pt x="130" y="176"/>
                    <a:pt x="134" y="174"/>
                    <a:pt x="138" y="172"/>
                  </a:cubicBezTo>
                  <a:cubicBezTo>
                    <a:pt x="160" y="187"/>
                    <a:pt x="160" y="187"/>
                    <a:pt x="160" y="187"/>
                  </a:cubicBezTo>
                  <a:cubicBezTo>
                    <a:pt x="187" y="161"/>
                    <a:pt x="187" y="161"/>
                    <a:pt x="187" y="161"/>
                  </a:cubicBezTo>
                  <a:cubicBezTo>
                    <a:pt x="171" y="139"/>
                    <a:pt x="171" y="139"/>
                    <a:pt x="171" y="139"/>
                  </a:cubicBezTo>
                  <a:cubicBezTo>
                    <a:pt x="173" y="134"/>
                    <a:pt x="175" y="130"/>
                    <a:pt x="177" y="125"/>
                  </a:cubicBezTo>
                  <a:lnTo>
                    <a:pt x="203" y="121"/>
                  </a:lnTo>
                  <a:close/>
                  <a:moveTo>
                    <a:pt x="102" y="136"/>
                  </a:moveTo>
                  <a:cubicBezTo>
                    <a:pt x="83" y="136"/>
                    <a:pt x="68" y="121"/>
                    <a:pt x="68" y="102"/>
                  </a:cubicBezTo>
                  <a:cubicBezTo>
                    <a:pt x="68" y="84"/>
                    <a:pt x="83" y="69"/>
                    <a:pt x="102" y="69"/>
                  </a:cubicBezTo>
                  <a:cubicBezTo>
                    <a:pt x="120" y="69"/>
                    <a:pt x="135" y="84"/>
                    <a:pt x="135" y="102"/>
                  </a:cubicBezTo>
                  <a:cubicBezTo>
                    <a:pt x="135" y="121"/>
                    <a:pt x="120" y="136"/>
                    <a:pt x="102" y="13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a:ln>
                  <a:noFill/>
                </a:ln>
                <a:solidFill>
                  <a:srgbClr val="000000"/>
                </a:solidFill>
                <a:effectLst/>
                <a:uLnTx/>
                <a:uFillTx/>
                <a:latin typeface="Aptos Narrow" panose="020B0004020202020204" pitchFamily="34" charset="0"/>
              </a:endParaRPr>
            </a:p>
          </p:txBody>
        </p:sp>
        <p:sp>
          <p:nvSpPr>
            <p:cNvPr id="94" name="Freeform 72">
              <a:extLst>
                <a:ext uri="{FF2B5EF4-FFF2-40B4-BE49-F238E27FC236}">
                  <a16:creationId xmlns:a16="http://schemas.microsoft.com/office/drawing/2014/main" id="{7E1DC438-43A1-99A2-EEC5-0E6F75F8DDE8}"/>
                </a:ext>
              </a:extLst>
            </p:cNvPr>
            <p:cNvSpPr>
              <a:spLocks/>
            </p:cNvSpPr>
            <p:nvPr/>
          </p:nvSpPr>
          <p:spPr bwMode="auto">
            <a:xfrm>
              <a:off x="5673258" y="1061500"/>
              <a:ext cx="251042" cy="128616"/>
            </a:xfrm>
            <a:custGeom>
              <a:avLst/>
              <a:gdLst>
                <a:gd name="T0" fmla="*/ 17837 w 19529"/>
                <a:gd name="T1" fmla="*/ 367 h 10315"/>
                <a:gd name="T2" fmla="*/ 14525 w 19529"/>
                <a:gd name="T3" fmla="*/ 3687 h 10315"/>
                <a:gd name="T4" fmla="*/ 9377 w 19529"/>
                <a:gd name="T5" fmla="*/ 3687 h 10315"/>
                <a:gd name="T6" fmla="*/ 9190 w 19529"/>
                <a:gd name="T7" fmla="*/ 3499 h 10315"/>
                <a:gd name="T8" fmla="*/ 9190 w 19529"/>
                <a:gd name="T9" fmla="*/ 3311 h 10315"/>
                <a:gd name="T10" fmla="*/ 9377 w 19529"/>
                <a:gd name="T11" fmla="*/ 3123 h 10315"/>
                <a:gd name="T12" fmla="*/ 12406 w 19529"/>
                <a:gd name="T13" fmla="*/ 3123 h 10315"/>
                <a:gd name="T14" fmla="*/ 13344 w 19529"/>
                <a:gd name="T15" fmla="*/ 2183 h 10315"/>
                <a:gd name="T16" fmla="*/ 12406 w 19529"/>
                <a:gd name="T17" fmla="*/ 1243 h 10315"/>
                <a:gd name="T18" fmla="*/ 5021 w 19529"/>
                <a:gd name="T19" fmla="*/ 1243 h 10315"/>
                <a:gd name="T20" fmla="*/ 4358 w 19529"/>
                <a:gd name="T21" fmla="*/ 1518 h 10315"/>
                <a:gd name="T22" fmla="*/ 280 w 19529"/>
                <a:gd name="T23" fmla="*/ 5608 h 10315"/>
                <a:gd name="T24" fmla="*/ 5 w 19529"/>
                <a:gd name="T25" fmla="*/ 6291 h 10315"/>
                <a:gd name="T26" fmla="*/ 7 w 19529"/>
                <a:gd name="T27" fmla="*/ 9424 h 10315"/>
                <a:gd name="T28" fmla="*/ 279 w 19529"/>
                <a:gd name="T29" fmla="*/ 10040 h 10315"/>
                <a:gd name="T30" fmla="*/ 942 w 19529"/>
                <a:gd name="T31" fmla="*/ 10315 h 10315"/>
                <a:gd name="T32" fmla="*/ 1606 w 19529"/>
                <a:gd name="T33" fmla="*/ 10040 h 10315"/>
                <a:gd name="T34" fmla="*/ 5410 w 19529"/>
                <a:gd name="T35" fmla="*/ 6226 h 10315"/>
                <a:gd name="T36" fmla="*/ 14257 w 19529"/>
                <a:gd name="T37" fmla="*/ 6226 h 10315"/>
                <a:gd name="T38" fmla="*/ 14920 w 19529"/>
                <a:gd name="T39" fmla="*/ 5951 h 10315"/>
                <a:gd name="T40" fmla="*/ 19163 w 19529"/>
                <a:gd name="T41" fmla="*/ 1697 h 10315"/>
                <a:gd name="T42" fmla="*/ 19163 w 19529"/>
                <a:gd name="T43" fmla="*/ 367 h 10315"/>
                <a:gd name="T44" fmla="*/ 17837 w 19529"/>
                <a:gd name="T45" fmla="*/ 367 h 10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529" h="10315">
                  <a:moveTo>
                    <a:pt x="17837" y="367"/>
                  </a:moveTo>
                  <a:lnTo>
                    <a:pt x="14525" y="3687"/>
                  </a:lnTo>
                  <a:lnTo>
                    <a:pt x="9377" y="3687"/>
                  </a:lnTo>
                  <a:cubicBezTo>
                    <a:pt x="9274" y="3687"/>
                    <a:pt x="9190" y="3603"/>
                    <a:pt x="9190" y="3499"/>
                  </a:cubicBezTo>
                  <a:lnTo>
                    <a:pt x="9190" y="3311"/>
                  </a:lnTo>
                  <a:cubicBezTo>
                    <a:pt x="9190" y="3207"/>
                    <a:pt x="9274" y="3123"/>
                    <a:pt x="9377" y="3123"/>
                  </a:cubicBezTo>
                  <a:lnTo>
                    <a:pt x="12406" y="3123"/>
                  </a:lnTo>
                  <a:cubicBezTo>
                    <a:pt x="12924" y="3123"/>
                    <a:pt x="13344" y="2702"/>
                    <a:pt x="13344" y="2183"/>
                  </a:cubicBezTo>
                  <a:cubicBezTo>
                    <a:pt x="13344" y="1664"/>
                    <a:pt x="12924" y="1243"/>
                    <a:pt x="12406" y="1243"/>
                  </a:cubicBezTo>
                  <a:lnTo>
                    <a:pt x="5021" y="1243"/>
                  </a:lnTo>
                  <a:cubicBezTo>
                    <a:pt x="4773" y="1243"/>
                    <a:pt x="4534" y="1342"/>
                    <a:pt x="4358" y="1518"/>
                  </a:cubicBezTo>
                  <a:lnTo>
                    <a:pt x="280" y="5608"/>
                  </a:lnTo>
                  <a:cubicBezTo>
                    <a:pt x="92" y="5796"/>
                    <a:pt x="0" y="6045"/>
                    <a:pt x="5" y="6291"/>
                  </a:cubicBezTo>
                  <a:cubicBezTo>
                    <a:pt x="9" y="6463"/>
                    <a:pt x="1" y="9296"/>
                    <a:pt x="7" y="9424"/>
                  </a:cubicBezTo>
                  <a:cubicBezTo>
                    <a:pt x="18" y="9648"/>
                    <a:pt x="109" y="9869"/>
                    <a:pt x="279" y="10040"/>
                  </a:cubicBezTo>
                  <a:cubicBezTo>
                    <a:pt x="462" y="10223"/>
                    <a:pt x="702" y="10315"/>
                    <a:pt x="942" y="10315"/>
                  </a:cubicBezTo>
                  <a:cubicBezTo>
                    <a:pt x="1182" y="10315"/>
                    <a:pt x="1422" y="10223"/>
                    <a:pt x="1606" y="10040"/>
                  </a:cubicBezTo>
                  <a:lnTo>
                    <a:pt x="5410" y="6226"/>
                  </a:lnTo>
                  <a:lnTo>
                    <a:pt x="14257" y="6226"/>
                  </a:lnTo>
                  <a:cubicBezTo>
                    <a:pt x="14506" y="6226"/>
                    <a:pt x="14744" y="6127"/>
                    <a:pt x="14920" y="5951"/>
                  </a:cubicBezTo>
                  <a:lnTo>
                    <a:pt x="19163" y="1697"/>
                  </a:lnTo>
                  <a:cubicBezTo>
                    <a:pt x="19529" y="1329"/>
                    <a:pt x="19529" y="734"/>
                    <a:pt x="19163" y="367"/>
                  </a:cubicBezTo>
                  <a:cubicBezTo>
                    <a:pt x="18797" y="0"/>
                    <a:pt x="18203" y="0"/>
                    <a:pt x="17837" y="367"/>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ptos Narrow" panose="020B0004020202020204" pitchFamily="34" charset="0"/>
              </a:endParaRPr>
            </a:p>
          </p:txBody>
        </p:sp>
      </p:grpSp>
      <p:sp>
        <p:nvSpPr>
          <p:cNvPr id="72" name="Title 1">
            <a:extLst>
              <a:ext uri="{FF2B5EF4-FFF2-40B4-BE49-F238E27FC236}">
                <a16:creationId xmlns:a16="http://schemas.microsoft.com/office/drawing/2014/main" id="{C23434E1-CA1E-D3CF-7815-6185D8DF158D}"/>
              </a:ext>
            </a:extLst>
          </p:cNvPr>
          <p:cNvSpPr>
            <a:spLocks noGrp="1"/>
          </p:cNvSpPr>
          <p:nvPr>
            <p:ph type="title"/>
          </p:nvPr>
        </p:nvSpPr>
        <p:spPr bwMode="gray">
          <a:xfrm>
            <a:off x="0" y="0"/>
            <a:ext cx="12191979" cy="1292630"/>
          </a:xfrm>
          <a:prstGeom prst="rect">
            <a:avLst/>
          </a:prstGeom>
          <a:solidFill>
            <a:srgbClr val="002576"/>
          </a:solidFill>
          <a:ln>
            <a:noFill/>
          </a:ln>
          <a:effectLst/>
        </p:spPr>
        <p:txBody>
          <a:bodyPr vert="horz" wrap="square" lIns="91440" tIns="45720" rIns="91440" bIns="45720" numCol="1" rtlCol="0" anchor="ctr" anchorCtr="0" compatLnSpc="1">
            <a:prstTxWarp prst="textNoShape">
              <a:avLst/>
            </a:prstTxWarp>
            <a:noAutofit/>
          </a:bodyPr>
          <a:lstStyle/>
          <a:p>
            <a:pPr algn="ctr" defTabSz="457200">
              <a:spcAft>
                <a:spcPts val="0"/>
              </a:spcAft>
              <a:tabLst/>
            </a:pPr>
            <a:r>
              <a:rPr lang="en-US" sz="2800" dirty="0">
                <a:solidFill>
                  <a:schemeClr val="bg1"/>
                </a:solidFill>
                <a:latin typeface="Arial Black"/>
              </a:rPr>
              <a:t>MEDC Real Estate Development Tools</a:t>
            </a:r>
            <a:endParaRPr lang="en-US" sz="2800" dirty="0">
              <a:solidFill>
                <a:schemeClr val="bg1"/>
              </a:solidFill>
            </a:endParaRPr>
          </a:p>
        </p:txBody>
      </p:sp>
      <p:sp>
        <p:nvSpPr>
          <p:cNvPr id="4" name="Rectangle 3" hidden="1">
            <a:extLst>
              <a:ext uri="{FF2B5EF4-FFF2-40B4-BE49-F238E27FC236}">
                <a16:creationId xmlns:a16="http://schemas.microsoft.com/office/drawing/2014/main" id="{2EF84823-EB7C-073D-E7DD-43F45E67E1FD}"/>
              </a:ext>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grpSp>
        <p:nvGrpSpPr>
          <p:cNvPr id="13" name="Group 12">
            <a:extLst>
              <a:ext uri="{FF2B5EF4-FFF2-40B4-BE49-F238E27FC236}">
                <a16:creationId xmlns:a16="http://schemas.microsoft.com/office/drawing/2014/main" id="{1A380456-CA45-0A4D-5CFE-C6C34B2F2D82}"/>
              </a:ext>
            </a:extLst>
          </p:cNvPr>
          <p:cNvGrpSpPr/>
          <p:nvPr/>
        </p:nvGrpSpPr>
        <p:grpSpPr>
          <a:xfrm>
            <a:off x="1017901" y="1866620"/>
            <a:ext cx="2755161" cy="4377484"/>
            <a:chOff x="4774677" y="1655327"/>
            <a:chExt cx="2476285" cy="4377484"/>
          </a:xfrm>
        </p:grpSpPr>
        <p:sp>
          <p:nvSpPr>
            <p:cNvPr id="46" name="Arrow: Pentagon 45">
              <a:extLst>
                <a:ext uri="{FF2B5EF4-FFF2-40B4-BE49-F238E27FC236}">
                  <a16:creationId xmlns:a16="http://schemas.microsoft.com/office/drawing/2014/main" id="{198B26DD-3C3E-66D7-541E-F81E5FBC1145}"/>
                </a:ext>
              </a:extLst>
            </p:cNvPr>
            <p:cNvSpPr/>
            <p:nvPr/>
          </p:nvSpPr>
          <p:spPr>
            <a:xfrm rot="5400000">
              <a:off x="3824078" y="2605926"/>
              <a:ext cx="4377484" cy="2476285"/>
            </a:xfrm>
            <a:prstGeom prst="homePlate">
              <a:avLst>
                <a:gd name="adj" fmla="val 18937"/>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640080" tIns="182880" bIns="182880" rtlCol="0" anchor="t"/>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br>
                <a:rPr kumimoji="0" lang="en-US" sz="3200" b="1" i="0" u="none" strike="noStrike" kern="1200" cap="none" spc="0" normalizeH="0" baseline="0" noProof="0" dirty="0">
                  <a:ln>
                    <a:noFill/>
                  </a:ln>
                  <a:solidFill>
                    <a:srgbClr val="FFFFFF"/>
                  </a:solidFill>
                  <a:effectLst/>
                  <a:uLnTx/>
                  <a:uFillTx/>
                  <a:latin typeface="Aptos "/>
                </a:rPr>
              </a:br>
              <a:endParaRPr kumimoji="0" lang="en-US" sz="3200" b="1" i="0" u="none" strike="noStrike" kern="1200" cap="none" spc="0" normalizeH="0" baseline="0" noProof="0" dirty="0">
                <a:ln>
                  <a:noFill/>
                </a:ln>
                <a:solidFill>
                  <a:srgbClr val="FFFFFF"/>
                </a:solidFill>
                <a:effectLst/>
                <a:uLnTx/>
                <a:uFillTx/>
                <a:latin typeface="Aptos "/>
              </a:endParaRPr>
            </a:p>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endParaRPr lang="en-US" sz="3200" b="1" dirty="0">
                <a:solidFill>
                  <a:srgbClr val="FFFFFF"/>
                </a:solidFill>
                <a:latin typeface="Aptos "/>
              </a:endParaRPr>
            </a:p>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n-US" sz="3200" b="1" i="0" u="none" strike="noStrike" kern="1200" cap="none" spc="0" normalizeH="0" baseline="0" noProof="0" dirty="0">
                  <a:ln>
                    <a:noFill/>
                  </a:ln>
                  <a:solidFill>
                    <a:srgbClr val="FFFFFF"/>
                  </a:solidFill>
                  <a:effectLst/>
                  <a:uLnTx/>
                  <a:uFillTx/>
                  <a:latin typeface="Aptos "/>
                </a:rPr>
                <a:t>Grants</a:t>
              </a:r>
            </a:p>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endParaRPr lang="en-US" sz="3200" b="1" dirty="0">
                <a:solidFill>
                  <a:srgbClr val="FFFFFF"/>
                </a:solidFill>
                <a:latin typeface="Aptos "/>
              </a:endParaRPr>
            </a:p>
          </p:txBody>
        </p:sp>
        <p:pic>
          <p:nvPicPr>
            <p:cNvPr id="21" name="Picture 20" descr="Fork In Road with solid fill">
              <a:extLst>
                <a:ext uri="{FF2B5EF4-FFF2-40B4-BE49-F238E27FC236}">
                  <a16:creationId xmlns:a16="http://schemas.microsoft.com/office/drawing/2014/main" id="{A74C1C52-264E-A762-BF56-0F2FF9192B7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5553307" y="1827697"/>
              <a:ext cx="746196" cy="746196"/>
            </a:xfrm>
            <a:prstGeom prst="rect">
              <a:avLst/>
            </a:prstGeom>
          </p:spPr>
        </p:pic>
      </p:grpSp>
      <p:sp>
        <p:nvSpPr>
          <p:cNvPr id="9" name="Rectangle 8">
            <a:extLst>
              <a:ext uri="{FF2B5EF4-FFF2-40B4-BE49-F238E27FC236}">
                <a16:creationId xmlns:a16="http://schemas.microsoft.com/office/drawing/2014/main" id="{2F73F1FA-1E5B-74CB-F24D-97F04E67153B}"/>
              </a:ext>
            </a:extLst>
          </p:cNvPr>
          <p:cNvSpPr/>
          <p:nvPr/>
        </p:nvSpPr>
        <p:spPr>
          <a:xfrm>
            <a:off x="10883" y="1291012"/>
            <a:ext cx="12192000" cy="87733"/>
          </a:xfrm>
          <a:prstGeom prst="rect">
            <a:avLst/>
          </a:prstGeom>
          <a:solidFill>
            <a:srgbClr val="9CCF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ptos Narrow" panose="020B0004020202020204" pitchFamily="34" charset="0"/>
            </a:endParaRPr>
          </a:p>
        </p:txBody>
      </p:sp>
      <p:grpSp>
        <p:nvGrpSpPr>
          <p:cNvPr id="14" name="Group 13">
            <a:extLst>
              <a:ext uri="{FF2B5EF4-FFF2-40B4-BE49-F238E27FC236}">
                <a16:creationId xmlns:a16="http://schemas.microsoft.com/office/drawing/2014/main" id="{2FDF8C24-6155-EF72-4F3F-E1F4B41805EB}"/>
              </a:ext>
            </a:extLst>
          </p:cNvPr>
          <p:cNvGrpSpPr/>
          <p:nvPr/>
        </p:nvGrpSpPr>
        <p:grpSpPr>
          <a:xfrm>
            <a:off x="4718409" y="1866620"/>
            <a:ext cx="2755160" cy="4377484"/>
            <a:chOff x="4774677" y="1655328"/>
            <a:chExt cx="2234341" cy="4377484"/>
          </a:xfrm>
        </p:grpSpPr>
        <p:sp>
          <p:nvSpPr>
            <p:cNvPr id="26" name="Arrow: Pentagon 25">
              <a:extLst>
                <a:ext uri="{FF2B5EF4-FFF2-40B4-BE49-F238E27FC236}">
                  <a16:creationId xmlns:a16="http://schemas.microsoft.com/office/drawing/2014/main" id="{B2D359D6-7540-084C-5962-2BDE5584AE08}"/>
                </a:ext>
              </a:extLst>
            </p:cNvPr>
            <p:cNvSpPr/>
            <p:nvPr/>
          </p:nvSpPr>
          <p:spPr>
            <a:xfrm rot="5400000">
              <a:off x="3703106" y="2726899"/>
              <a:ext cx="4377484" cy="2234341"/>
            </a:xfrm>
            <a:prstGeom prst="homePlate">
              <a:avLst>
                <a:gd name="adj" fmla="val 18937"/>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640080" tIns="182880" bIns="182880" rtlCol="0" anchor="t"/>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br>
                <a:rPr kumimoji="0" lang="en-US" sz="3200" b="1" i="0" u="none" strike="noStrike" kern="1200" cap="none" spc="0" normalizeH="0" baseline="0" noProof="0" dirty="0">
                  <a:ln>
                    <a:noFill/>
                  </a:ln>
                  <a:solidFill>
                    <a:srgbClr val="FFFFFF"/>
                  </a:solidFill>
                  <a:effectLst/>
                  <a:uLnTx/>
                  <a:uFillTx/>
                  <a:latin typeface="Aptos "/>
                </a:rPr>
              </a:br>
              <a:endParaRPr kumimoji="0" lang="en-US" sz="3200" b="1" i="0" u="none" strike="noStrike" kern="1200" cap="none" spc="0" normalizeH="0" baseline="0" noProof="0" dirty="0">
                <a:ln>
                  <a:noFill/>
                </a:ln>
                <a:solidFill>
                  <a:srgbClr val="FFFFFF"/>
                </a:solidFill>
                <a:effectLst/>
                <a:uLnTx/>
                <a:uFillTx/>
                <a:latin typeface="Aptos "/>
              </a:endParaRPr>
            </a:p>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endParaRPr lang="en-US" sz="3200" b="1" dirty="0">
                <a:solidFill>
                  <a:srgbClr val="FFFFFF"/>
                </a:solidFill>
                <a:latin typeface="Aptos "/>
              </a:endParaRPr>
            </a:p>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n-US" sz="3200" b="1" i="0" u="none" strike="noStrike" kern="1200" cap="none" spc="0" normalizeH="0" baseline="0" noProof="0" dirty="0">
                  <a:ln>
                    <a:noFill/>
                  </a:ln>
                  <a:solidFill>
                    <a:srgbClr val="FFFFFF"/>
                  </a:solidFill>
                  <a:effectLst/>
                  <a:uLnTx/>
                  <a:uFillTx/>
                  <a:latin typeface="Aptos "/>
                </a:rPr>
                <a:t>Loans</a:t>
              </a:r>
            </a:p>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endParaRPr lang="en-US" sz="3200" b="1" dirty="0">
                <a:solidFill>
                  <a:srgbClr val="FFFFFF"/>
                </a:solidFill>
                <a:latin typeface="Aptos "/>
              </a:endParaRPr>
            </a:p>
          </p:txBody>
        </p:sp>
        <p:pic>
          <p:nvPicPr>
            <p:cNvPr id="28" name="Picture 20" descr="Marker with solid fill">
              <a:extLst>
                <a:ext uri="{FF2B5EF4-FFF2-40B4-BE49-F238E27FC236}">
                  <a16:creationId xmlns:a16="http://schemas.microsoft.com/office/drawing/2014/main" id="{A76AD5EA-7DCD-B6E3-163B-F1251B54216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rcRect/>
            <a:stretch/>
          </p:blipFill>
          <p:spPr>
            <a:xfrm>
              <a:off x="5553307" y="1827697"/>
              <a:ext cx="746196" cy="746196"/>
            </a:xfrm>
            <a:prstGeom prst="rect">
              <a:avLst/>
            </a:prstGeom>
          </p:spPr>
        </p:pic>
      </p:grpSp>
      <p:grpSp>
        <p:nvGrpSpPr>
          <p:cNvPr id="29" name="Group 28">
            <a:extLst>
              <a:ext uri="{FF2B5EF4-FFF2-40B4-BE49-F238E27FC236}">
                <a16:creationId xmlns:a16="http://schemas.microsoft.com/office/drawing/2014/main" id="{9CA0938F-324A-C5FF-51AC-20B6D13FD601}"/>
              </a:ext>
            </a:extLst>
          </p:cNvPr>
          <p:cNvGrpSpPr/>
          <p:nvPr/>
        </p:nvGrpSpPr>
        <p:grpSpPr>
          <a:xfrm>
            <a:off x="8418918" y="1866620"/>
            <a:ext cx="2755159" cy="4377484"/>
            <a:chOff x="4774678" y="1655327"/>
            <a:chExt cx="2234341" cy="4377484"/>
          </a:xfrm>
        </p:grpSpPr>
        <p:sp>
          <p:nvSpPr>
            <p:cNvPr id="30" name="Arrow: Pentagon 29">
              <a:extLst>
                <a:ext uri="{FF2B5EF4-FFF2-40B4-BE49-F238E27FC236}">
                  <a16:creationId xmlns:a16="http://schemas.microsoft.com/office/drawing/2014/main" id="{9441C039-C2CB-C751-158E-F23267E8A19A}"/>
                </a:ext>
              </a:extLst>
            </p:cNvPr>
            <p:cNvSpPr/>
            <p:nvPr/>
          </p:nvSpPr>
          <p:spPr>
            <a:xfrm rot="5400000">
              <a:off x="3703107" y="2726898"/>
              <a:ext cx="4377484" cy="2234341"/>
            </a:xfrm>
            <a:prstGeom prst="homePlate">
              <a:avLst>
                <a:gd name="adj" fmla="val 18937"/>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640080" tIns="182880" bIns="182880" rtlCol="0" anchor="t"/>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br>
                <a:rPr kumimoji="0" lang="en-US" sz="3200" b="1" i="0" u="none" strike="noStrike" kern="1200" cap="none" spc="0" normalizeH="0" baseline="0" noProof="0" dirty="0">
                  <a:ln>
                    <a:noFill/>
                  </a:ln>
                  <a:solidFill>
                    <a:srgbClr val="FFFFFF"/>
                  </a:solidFill>
                  <a:effectLst/>
                  <a:uLnTx/>
                  <a:uFillTx/>
                  <a:latin typeface="Aptos "/>
                </a:rPr>
              </a:br>
              <a:endParaRPr kumimoji="0" lang="en-US" sz="3200" b="1" i="0" u="none" strike="noStrike" kern="1200" cap="none" spc="0" normalizeH="0" baseline="0" noProof="0" dirty="0">
                <a:ln>
                  <a:noFill/>
                </a:ln>
                <a:solidFill>
                  <a:srgbClr val="FFFFFF"/>
                </a:solidFill>
                <a:effectLst/>
                <a:uLnTx/>
                <a:uFillTx/>
                <a:latin typeface="Aptos "/>
              </a:endParaRPr>
            </a:p>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n-US" sz="3200" b="1" i="0" u="none" strike="noStrike" kern="1200" cap="none" spc="0" normalizeH="0" baseline="0" noProof="0" dirty="0">
                  <a:ln>
                    <a:noFill/>
                  </a:ln>
                  <a:solidFill>
                    <a:srgbClr val="FFFFFF"/>
                  </a:solidFill>
                  <a:effectLst/>
                  <a:uLnTx/>
                  <a:uFillTx/>
                  <a:latin typeface="Aptos "/>
                </a:rPr>
                <a:t>Tax Increment Financing </a:t>
              </a:r>
            </a:p>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endParaRPr lang="en-US" sz="3200" b="1" dirty="0">
                <a:solidFill>
                  <a:srgbClr val="FFFFFF"/>
                </a:solidFill>
                <a:latin typeface="Aptos "/>
              </a:endParaRPr>
            </a:p>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endParaRPr kumimoji="0" lang="en-US" sz="3200" i="0" u="none" strike="noStrike" kern="1200" cap="none" spc="0" normalizeH="0" baseline="0" noProof="0" dirty="0">
                <a:ln>
                  <a:noFill/>
                </a:ln>
                <a:solidFill>
                  <a:srgbClr val="FFFFFF"/>
                </a:solidFill>
                <a:effectLst/>
                <a:uLnTx/>
                <a:uFillTx/>
                <a:latin typeface="Aptos "/>
              </a:endParaRPr>
            </a:p>
          </p:txBody>
        </p:sp>
        <p:pic>
          <p:nvPicPr>
            <p:cNvPr id="31" name="Picture 20" descr="Dollar with solid fill">
              <a:extLst>
                <a:ext uri="{FF2B5EF4-FFF2-40B4-BE49-F238E27FC236}">
                  <a16:creationId xmlns:a16="http://schemas.microsoft.com/office/drawing/2014/main" id="{FDF4DD5C-DC82-CDD7-B559-3ABD6AC12A2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rcRect/>
            <a:stretch/>
          </p:blipFill>
          <p:spPr>
            <a:xfrm>
              <a:off x="5589760" y="1827697"/>
              <a:ext cx="673290" cy="746196"/>
            </a:xfrm>
            <a:prstGeom prst="rect">
              <a:avLst/>
            </a:prstGeom>
          </p:spPr>
        </p:pic>
      </p:grpSp>
    </p:spTree>
    <p:extLst>
      <p:ext uri="{BB962C8B-B14F-4D97-AF65-F5344CB8AC3E}">
        <p14:creationId xmlns:p14="http://schemas.microsoft.com/office/powerpoint/2010/main" val="222052517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3F65A58-9386-E49C-A65B-C004A57F9ACF}"/>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DC4D948-EB9B-DB1D-E35B-5C98DC496DB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2DC4D948-EB9B-DB1D-E35B-5C98DC496DB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2CFFAA0A-48BA-2CFD-FA67-7523D8BCBFF1}"/>
              </a:ext>
            </a:extLst>
          </p:cNvPr>
          <p:cNvGrpSpPr/>
          <p:nvPr/>
        </p:nvGrpSpPr>
        <p:grpSpPr>
          <a:xfrm>
            <a:off x="11660635" y="1104552"/>
            <a:ext cx="144734" cy="128417"/>
            <a:chOff x="11633817" y="1102402"/>
            <a:chExt cx="231147" cy="205087"/>
          </a:xfrm>
        </p:grpSpPr>
        <p:sp>
          <p:nvSpPr>
            <p:cNvPr id="151" name="Freeform 19">
              <a:extLst>
                <a:ext uri="{FF2B5EF4-FFF2-40B4-BE49-F238E27FC236}">
                  <a16:creationId xmlns:a16="http://schemas.microsoft.com/office/drawing/2014/main" id="{87E520D1-AD02-ACFC-0F9B-C6019946749D}"/>
                </a:ext>
              </a:extLst>
            </p:cNvPr>
            <p:cNvSpPr>
              <a:spLocks/>
            </p:cNvSpPr>
            <p:nvPr/>
          </p:nvSpPr>
          <p:spPr bwMode="auto">
            <a:xfrm>
              <a:off x="11676657" y="1169876"/>
              <a:ext cx="83691" cy="29778"/>
            </a:xfrm>
            <a:custGeom>
              <a:avLst/>
              <a:gdLst>
                <a:gd name="T0" fmla="*/ 107 w 206"/>
                <a:gd name="T1" fmla="*/ 77 h 77"/>
                <a:gd name="T2" fmla="*/ 107 w 206"/>
                <a:gd name="T3" fmla="*/ 77 h 77"/>
                <a:gd name="T4" fmla="*/ 106 w 206"/>
                <a:gd name="T5" fmla="*/ 77 h 77"/>
                <a:gd name="T6" fmla="*/ 5 w 206"/>
                <a:gd name="T7" fmla="*/ 26 h 77"/>
                <a:gd name="T8" fmla="*/ 8 w 206"/>
                <a:gd name="T9" fmla="*/ 5 h 77"/>
                <a:gd name="T10" fmla="*/ 29 w 206"/>
                <a:gd name="T11" fmla="*/ 8 h 77"/>
                <a:gd name="T12" fmla="*/ 107 w 206"/>
                <a:gd name="T13" fmla="*/ 46 h 77"/>
                <a:gd name="T14" fmla="*/ 177 w 206"/>
                <a:gd name="T15" fmla="*/ 7 h 77"/>
                <a:gd name="T16" fmla="*/ 199 w 206"/>
                <a:gd name="T17" fmla="*/ 5 h 77"/>
                <a:gd name="T18" fmla="*/ 201 w 206"/>
                <a:gd name="T19" fmla="*/ 26 h 77"/>
                <a:gd name="T20" fmla="*/ 107 w 206"/>
                <a:gd name="T21"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6" h="77">
                  <a:moveTo>
                    <a:pt x="107" y="77"/>
                  </a:moveTo>
                  <a:cubicBezTo>
                    <a:pt x="107" y="77"/>
                    <a:pt x="107" y="77"/>
                    <a:pt x="107" y="77"/>
                  </a:cubicBezTo>
                  <a:cubicBezTo>
                    <a:pt x="106" y="77"/>
                    <a:pt x="106" y="77"/>
                    <a:pt x="106" y="77"/>
                  </a:cubicBezTo>
                  <a:cubicBezTo>
                    <a:pt x="52" y="74"/>
                    <a:pt x="13" y="36"/>
                    <a:pt x="5" y="26"/>
                  </a:cubicBezTo>
                  <a:cubicBezTo>
                    <a:pt x="0" y="19"/>
                    <a:pt x="1" y="10"/>
                    <a:pt x="8" y="5"/>
                  </a:cubicBezTo>
                  <a:cubicBezTo>
                    <a:pt x="15" y="0"/>
                    <a:pt x="24" y="1"/>
                    <a:pt x="29" y="8"/>
                  </a:cubicBezTo>
                  <a:cubicBezTo>
                    <a:pt x="34" y="14"/>
                    <a:pt x="66" y="44"/>
                    <a:pt x="107" y="46"/>
                  </a:cubicBezTo>
                  <a:cubicBezTo>
                    <a:pt x="145" y="46"/>
                    <a:pt x="177" y="8"/>
                    <a:pt x="177" y="7"/>
                  </a:cubicBezTo>
                  <a:cubicBezTo>
                    <a:pt x="182" y="1"/>
                    <a:pt x="192" y="0"/>
                    <a:pt x="199" y="5"/>
                  </a:cubicBezTo>
                  <a:cubicBezTo>
                    <a:pt x="205" y="10"/>
                    <a:pt x="206" y="20"/>
                    <a:pt x="201" y="26"/>
                  </a:cubicBezTo>
                  <a:cubicBezTo>
                    <a:pt x="199" y="28"/>
                    <a:pt x="160" y="77"/>
                    <a:pt x="107" y="7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a:ln>
                  <a:noFill/>
                </a:ln>
                <a:solidFill>
                  <a:srgbClr val="000000"/>
                </a:solidFill>
                <a:effectLst/>
                <a:uLnTx/>
                <a:uFillTx/>
                <a:latin typeface="Arial" charset="0"/>
                <a:ea typeface="+mn-ea"/>
                <a:cs typeface="+mn-cs"/>
              </a:endParaRPr>
            </a:p>
          </p:txBody>
        </p:sp>
        <p:sp>
          <p:nvSpPr>
            <p:cNvPr id="152" name="Freeform 20">
              <a:extLst>
                <a:ext uri="{FF2B5EF4-FFF2-40B4-BE49-F238E27FC236}">
                  <a16:creationId xmlns:a16="http://schemas.microsoft.com/office/drawing/2014/main" id="{33AF1E44-3D7F-A018-7D9C-ABA81FF98AC6}"/>
                </a:ext>
              </a:extLst>
            </p:cNvPr>
            <p:cNvSpPr>
              <a:spLocks noEditPoints="1"/>
            </p:cNvSpPr>
            <p:nvPr/>
          </p:nvSpPr>
          <p:spPr bwMode="auto">
            <a:xfrm>
              <a:off x="11633817" y="1102402"/>
              <a:ext cx="231147" cy="205087"/>
            </a:xfrm>
            <a:custGeom>
              <a:avLst/>
              <a:gdLst>
                <a:gd name="T0" fmla="*/ 550 w 570"/>
                <a:gd name="T1" fmla="*/ 406 h 524"/>
                <a:gd name="T2" fmla="*/ 397 w 570"/>
                <a:gd name="T3" fmla="*/ 305 h 524"/>
                <a:gd name="T4" fmla="*/ 395 w 570"/>
                <a:gd name="T5" fmla="*/ 304 h 524"/>
                <a:gd name="T6" fmla="*/ 418 w 570"/>
                <a:gd name="T7" fmla="*/ 209 h 524"/>
                <a:gd name="T8" fmla="*/ 209 w 570"/>
                <a:gd name="T9" fmla="*/ 0 h 524"/>
                <a:gd name="T10" fmla="*/ 0 w 570"/>
                <a:gd name="T11" fmla="*/ 209 h 524"/>
                <a:gd name="T12" fmla="*/ 209 w 570"/>
                <a:gd name="T13" fmla="*/ 418 h 524"/>
                <a:gd name="T14" fmla="*/ 336 w 570"/>
                <a:gd name="T15" fmla="*/ 375 h 524"/>
                <a:gd name="T16" fmla="*/ 337 w 570"/>
                <a:gd name="T17" fmla="*/ 376 h 524"/>
                <a:gd name="T18" fmla="*/ 464 w 570"/>
                <a:gd name="T19" fmla="*/ 510 h 524"/>
                <a:gd name="T20" fmla="*/ 520 w 570"/>
                <a:gd name="T21" fmla="*/ 505 h 524"/>
                <a:gd name="T22" fmla="*/ 556 w 570"/>
                <a:gd name="T23" fmla="*/ 462 h 524"/>
                <a:gd name="T24" fmla="*/ 550 w 570"/>
                <a:gd name="T25" fmla="*/ 406 h 524"/>
                <a:gd name="T26" fmla="*/ 209 w 570"/>
                <a:gd name="T27" fmla="*/ 364 h 524"/>
                <a:gd name="T28" fmla="*/ 54 w 570"/>
                <a:gd name="T29" fmla="*/ 209 h 524"/>
                <a:gd name="T30" fmla="*/ 209 w 570"/>
                <a:gd name="T31" fmla="*/ 54 h 524"/>
                <a:gd name="T32" fmla="*/ 364 w 570"/>
                <a:gd name="T33" fmla="*/ 209 h 524"/>
                <a:gd name="T34" fmla="*/ 209 w 570"/>
                <a:gd name="T35" fmla="*/ 36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0" h="524">
                  <a:moveTo>
                    <a:pt x="550" y="406"/>
                  </a:moveTo>
                  <a:cubicBezTo>
                    <a:pt x="397" y="305"/>
                    <a:pt x="397" y="305"/>
                    <a:pt x="397" y="305"/>
                  </a:cubicBezTo>
                  <a:cubicBezTo>
                    <a:pt x="396" y="305"/>
                    <a:pt x="396" y="304"/>
                    <a:pt x="395" y="304"/>
                  </a:cubicBezTo>
                  <a:cubicBezTo>
                    <a:pt x="410" y="276"/>
                    <a:pt x="418" y="243"/>
                    <a:pt x="418" y="209"/>
                  </a:cubicBezTo>
                  <a:cubicBezTo>
                    <a:pt x="418" y="94"/>
                    <a:pt x="324" y="0"/>
                    <a:pt x="209" y="0"/>
                  </a:cubicBezTo>
                  <a:cubicBezTo>
                    <a:pt x="94" y="0"/>
                    <a:pt x="0" y="94"/>
                    <a:pt x="0" y="209"/>
                  </a:cubicBezTo>
                  <a:cubicBezTo>
                    <a:pt x="0" y="324"/>
                    <a:pt x="94" y="418"/>
                    <a:pt x="209" y="418"/>
                  </a:cubicBezTo>
                  <a:cubicBezTo>
                    <a:pt x="257" y="418"/>
                    <a:pt x="301" y="402"/>
                    <a:pt x="336" y="375"/>
                  </a:cubicBezTo>
                  <a:cubicBezTo>
                    <a:pt x="336" y="375"/>
                    <a:pt x="337" y="376"/>
                    <a:pt x="337" y="376"/>
                  </a:cubicBezTo>
                  <a:cubicBezTo>
                    <a:pt x="464" y="510"/>
                    <a:pt x="464" y="510"/>
                    <a:pt x="464" y="510"/>
                  </a:cubicBezTo>
                  <a:cubicBezTo>
                    <a:pt x="481" y="524"/>
                    <a:pt x="506" y="522"/>
                    <a:pt x="520" y="505"/>
                  </a:cubicBezTo>
                  <a:cubicBezTo>
                    <a:pt x="556" y="462"/>
                    <a:pt x="556" y="462"/>
                    <a:pt x="556" y="462"/>
                  </a:cubicBezTo>
                  <a:cubicBezTo>
                    <a:pt x="570" y="445"/>
                    <a:pt x="567" y="420"/>
                    <a:pt x="550" y="406"/>
                  </a:cubicBezTo>
                  <a:close/>
                  <a:moveTo>
                    <a:pt x="209" y="364"/>
                  </a:moveTo>
                  <a:cubicBezTo>
                    <a:pt x="123" y="364"/>
                    <a:pt x="54" y="295"/>
                    <a:pt x="54" y="209"/>
                  </a:cubicBezTo>
                  <a:cubicBezTo>
                    <a:pt x="54" y="124"/>
                    <a:pt x="123" y="54"/>
                    <a:pt x="209" y="54"/>
                  </a:cubicBezTo>
                  <a:cubicBezTo>
                    <a:pt x="295" y="54"/>
                    <a:pt x="364" y="124"/>
                    <a:pt x="364" y="209"/>
                  </a:cubicBezTo>
                  <a:cubicBezTo>
                    <a:pt x="364" y="295"/>
                    <a:pt x="295" y="364"/>
                    <a:pt x="209" y="36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a:ln>
                  <a:noFill/>
                </a:ln>
                <a:solidFill>
                  <a:srgbClr val="000000"/>
                </a:solidFill>
                <a:effectLst/>
                <a:uLnTx/>
                <a:uFillTx/>
                <a:latin typeface="Arial" charset="0"/>
                <a:ea typeface="+mn-ea"/>
                <a:cs typeface="+mn-cs"/>
              </a:endParaRPr>
            </a:p>
          </p:txBody>
        </p:sp>
      </p:grpSp>
      <p:grpSp>
        <p:nvGrpSpPr>
          <p:cNvPr id="226" name="Group 225">
            <a:extLst>
              <a:ext uri="{FF2B5EF4-FFF2-40B4-BE49-F238E27FC236}">
                <a16:creationId xmlns:a16="http://schemas.microsoft.com/office/drawing/2014/main" id="{C355CC21-3427-7D4E-3FDD-3BE1BCAB7A99}"/>
              </a:ext>
            </a:extLst>
          </p:cNvPr>
          <p:cNvGrpSpPr/>
          <p:nvPr/>
        </p:nvGrpSpPr>
        <p:grpSpPr>
          <a:xfrm>
            <a:off x="5713706" y="1094902"/>
            <a:ext cx="170146" cy="178230"/>
            <a:chOff x="5673258" y="927146"/>
            <a:chExt cx="251042" cy="262970"/>
          </a:xfrm>
        </p:grpSpPr>
        <p:sp>
          <p:nvSpPr>
            <p:cNvPr id="200" name="Freeform 14">
              <a:extLst>
                <a:ext uri="{FF2B5EF4-FFF2-40B4-BE49-F238E27FC236}">
                  <a16:creationId xmlns:a16="http://schemas.microsoft.com/office/drawing/2014/main" id="{C1F8D186-A570-9039-DD55-BB0431C39172}"/>
                </a:ext>
              </a:extLst>
            </p:cNvPr>
            <p:cNvSpPr>
              <a:spLocks noEditPoints="1"/>
            </p:cNvSpPr>
            <p:nvPr/>
          </p:nvSpPr>
          <p:spPr bwMode="auto">
            <a:xfrm>
              <a:off x="5785978" y="927146"/>
              <a:ext cx="128800" cy="125036"/>
            </a:xfrm>
            <a:custGeom>
              <a:avLst/>
              <a:gdLst>
                <a:gd name="T0" fmla="*/ 203 w 203"/>
                <a:gd name="T1" fmla="*/ 121 h 204"/>
                <a:gd name="T2" fmla="*/ 203 w 203"/>
                <a:gd name="T3" fmla="*/ 83 h 204"/>
                <a:gd name="T4" fmla="*/ 177 w 203"/>
                <a:gd name="T5" fmla="*/ 79 h 204"/>
                <a:gd name="T6" fmla="*/ 171 w 203"/>
                <a:gd name="T7" fmla="*/ 66 h 204"/>
                <a:gd name="T8" fmla="*/ 187 w 203"/>
                <a:gd name="T9" fmla="*/ 44 h 204"/>
                <a:gd name="T10" fmla="*/ 160 w 203"/>
                <a:gd name="T11" fmla="*/ 17 h 204"/>
                <a:gd name="T12" fmla="*/ 138 w 203"/>
                <a:gd name="T13" fmla="*/ 32 h 204"/>
                <a:gd name="T14" fmla="*/ 125 w 203"/>
                <a:gd name="T15" fmla="*/ 27 h 204"/>
                <a:gd name="T16" fmla="*/ 120 w 203"/>
                <a:gd name="T17" fmla="*/ 0 h 204"/>
                <a:gd name="T18" fmla="*/ 83 w 203"/>
                <a:gd name="T19" fmla="*/ 0 h 204"/>
                <a:gd name="T20" fmla="*/ 78 w 203"/>
                <a:gd name="T21" fmla="*/ 27 h 204"/>
                <a:gd name="T22" fmla="*/ 65 w 203"/>
                <a:gd name="T23" fmla="*/ 32 h 204"/>
                <a:gd name="T24" fmla="*/ 43 w 203"/>
                <a:gd name="T25" fmla="*/ 17 h 204"/>
                <a:gd name="T26" fmla="*/ 16 w 203"/>
                <a:gd name="T27" fmla="*/ 44 h 204"/>
                <a:gd name="T28" fmla="*/ 32 w 203"/>
                <a:gd name="T29" fmla="*/ 66 h 204"/>
                <a:gd name="T30" fmla="*/ 27 w 203"/>
                <a:gd name="T31" fmla="*/ 79 h 204"/>
                <a:gd name="T32" fmla="*/ 0 w 203"/>
                <a:gd name="T33" fmla="*/ 83 h 204"/>
                <a:gd name="T34" fmla="*/ 0 w 203"/>
                <a:gd name="T35" fmla="*/ 121 h 204"/>
                <a:gd name="T36" fmla="*/ 27 w 203"/>
                <a:gd name="T37" fmla="*/ 125 h 204"/>
                <a:gd name="T38" fmla="*/ 32 w 203"/>
                <a:gd name="T39" fmla="*/ 139 h 204"/>
                <a:gd name="T40" fmla="*/ 16 w 203"/>
                <a:gd name="T41" fmla="*/ 161 h 204"/>
                <a:gd name="T42" fmla="*/ 43 w 203"/>
                <a:gd name="T43" fmla="*/ 187 h 204"/>
                <a:gd name="T44" fmla="*/ 65 w 203"/>
                <a:gd name="T45" fmla="*/ 172 h 204"/>
                <a:gd name="T46" fmla="*/ 78 w 203"/>
                <a:gd name="T47" fmla="*/ 177 h 204"/>
                <a:gd name="T48" fmla="*/ 83 w 203"/>
                <a:gd name="T49" fmla="*/ 204 h 204"/>
                <a:gd name="T50" fmla="*/ 120 w 203"/>
                <a:gd name="T51" fmla="*/ 204 h 204"/>
                <a:gd name="T52" fmla="*/ 125 w 203"/>
                <a:gd name="T53" fmla="*/ 177 h 204"/>
                <a:gd name="T54" fmla="*/ 138 w 203"/>
                <a:gd name="T55" fmla="*/ 172 h 204"/>
                <a:gd name="T56" fmla="*/ 160 w 203"/>
                <a:gd name="T57" fmla="*/ 187 h 204"/>
                <a:gd name="T58" fmla="*/ 187 w 203"/>
                <a:gd name="T59" fmla="*/ 161 h 204"/>
                <a:gd name="T60" fmla="*/ 171 w 203"/>
                <a:gd name="T61" fmla="*/ 139 h 204"/>
                <a:gd name="T62" fmla="*/ 177 w 203"/>
                <a:gd name="T63" fmla="*/ 125 h 204"/>
                <a:gd name="T64" fmla="*/ 203 w 203"/>
                <a:gd name="T65" fmla="*/ 121 h 204"/>
                <a:gd name="T66" fmla="*/ 102 w 203"/>
                <a:gd name="T67" fmla="*/ 136 h 204"/>
                <a:gd name="T68" fmla="*/ 68 w 203"/>
                <a:gd name="T69" fmla="*/ 102 h 204"/>
                <a:gd name="T70" fmla="*/ 102 w 203"/>
                <a:gd name="T71" fmla="*/ 69 h 204"/>
                <a:gd name="T72" fmla="*/ 135 w 203"/>
                <a:gd name="T73" fmla="*/ 102 h 204"/>
                <a:gd name="T74" fmla="*/ 102 w 203"/>
                <a:gd name="T75" fmla="*/ 13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3" h="204">
                  <a:moveTo>
                    <a:pt x="203" y="121"/>
                  </a:moveTo>
                  <a:cubicBezTo>
                    <a:pt x="203" y="83"/>
                    <a:pt x="203" y="83"/>
                    <a:pt x="203" y="83"/>
                  </a:cubicBezTo>
                  <a:cubicBezTo>
                    <a:pt x="177" y="79"/>
                    <a:pt x="177" y="79"/>
                    <a:pt x="177" y="79"/>
                  </a:cubicBezTo>
                  <a:cubicBezTo>
                    <a:pt x="175" y="74"/>
                    <a:pt x="173" y="70"/>
                    <a:pt x="171" y="66"/>
                  </a:cubicBezTo>
                  <a:cubicBezTo>
                    <a:pt x="187" y="44"/>
                    <a:pt x="187" y="44"/>
                    <a:pt x="187" y="44"/>
                  </a:cubicBezTo>
                  <a:cubicBezTo>
                    <a:pt x="160" y="17"/>
                    <a:pt x="160" y="17"/>
                    <a:pt x="160" y="17"/>
                  </a:cubicBezTo>
                  <a:cubicBezTo>
                    <a:pt x="138" y="32"/>
                    <a:pt x="138" y="32"/>
                    <a:pt x="138" y="32"/>
                  </a:cubicBezTo>
                  <a:cubicBezTo>
                    <a:pt x="134" y="30"/>
                    <a:pt x="130" y="28"/>
                    <a:pt x="125" y="27"/>
                  </a:cubicBezTo>
                  <a:cubicBezTo>
                    <a:pt x="120" y="0"/>
                    <a:pt x="120" y="0"/>
                    <a:pt x="120" y="0"/>
                  </a:cubicBezTo>
                  <a:cubicBezTo>
                    <a:pt x="83" y="0"/>
                    <a:pt x="83" y="0"/>
                    <a:pt x="83" y="0"/>
                  </a:cubicBezTo>
                  <a:cubicBezTo>
                    <a:pt x="78" y="27"/>
                    <a:pt x="78" y="27"/>
                    <a:pt x="78" y="27"/>
                  </a:cubicBezTo>
                  <a:cubicBezTo>
                    <a:pt x="74" y="28"/>
                    <a:pt x="69" y="30"/>
                    <a:pt x="65" y="32"/>
                  </a:cubicBezTo>
                  <a:cubicBezTo>
                    <a:pt x="43" y="17"/>
                    <a:pt x="43" y="17"/>
                    <a:pt x="43" y="17"/>
                  </a:cubicBezTo>
                  <a:cubicBezTo>
                    <a:pt x="16" y="44"/>
                    <a:pt x="16" y="44"/>
                    <a:pt x="16" y="44"/>
                  </a:cubicBezTo>
                  <a:cubicBezTo>
                    <a:pt x="32" y="66"/>
                    <a:pt x="32" y="66"/>
                    <a:pt x="32" y="66"/>
                  </a:cubicBezTo>
                  <a:cubicBezTo>
                    <a:pt x="30" y="70"/>
                    <a:pt x="28" y="74"/>
                    <a:pt x="27" y="79"/>
                  </a:cubicBezTo>
                  <a:cubicBezTo>
                    <a:pt x="0" y="83"/>
                    <a:pt x="0" y="83"/>
                    <a:pt x="0" y="83"/>
                  </a:cubicBezTo>
                  <a:cubicBezTo>
                    <a:pt x="0" y="121"/>
                    <a:pt x="0" y="121"/>
                    <a:pt x="0" y="121"/>
                  </a:cubicBezTo>
                  <a:cubicBezTo>
                    <a:pt x="27" y="125"/>
                    <a:pt x="27" y="125"/>
                    <a:pt x="27" y="125"/>
                  </a:cubicBezTo>
                  <a:cubicBezTo>
                    <a:pt x="28" y="130"/>
                    <a:pt x="30" y="134"/>
                    <a:pt x="32" y="139"/>
                  </a:cubicBezTo>
                  <a:cubicBezTo>
                    <a:pt x="16" y="161"/>
                    <a:pt x="16" y="161"/>
                    <a:pt x="16" y="161"/>
                  </a:cubicBezTo>
                  <a:cubicBezTo>
                    <a:pt x="43" y="187"/>
                    <a:pt x="43" y="187"/>
                    <a:pt x="43" y="187"/>
                  </a:cubicBezTo>
                  <a:cubicBezTo>
                    <a:pt x="65" y="172"/>
                    <a:pt x="65" y="172"/>
                    <a:pt x="65" y="172"/>
                  </a:cubicBezTo>
                  <a:cubicBezTo>
                    <a:pt x="69" y="174"/>
                    <a:pt x="74" y="176"/>
                    <a:pt x="78" y="177"/>
                  </a:cubicBezTo>
                  <a:cubicBezTo>
                    <a:pt x="83" y="204"/>
                    <a:pt x="83" y="204"/>
                    <a:pt x="83" y="204"/>
                  </a:cubicBezTo>
                  <a:cubicBezTo>
                    <a:pt x="120" y="204"/>
                    <a:pt x="120" y="204"/>
                    <a:pt x="120" y="204"/>
                  </a:cubicBezTo>
                  <a:cubicBezTo>
                    <a:pt x="125" y="177"/>
                    <a:pt x="125" y="177"/>
                    <a:pt x="125" y="177"/>
                  </a:cubicBezTo>
                  <a:cubicBezTo>
                    <a:pt x="130" y="176"/>
                    <a:pt x="134" y="174"/>
                    <a:pt x="138" y="172"/>
                  </a:cubicBezTo>
                  <a:cubicBezTo>
                    <a:pt x="160" y="187"/>
                    <a:pt x="160" y="187"/>
                    <a:pt x="160" y="187"/>
                  </a:cubicBezTo>
                  <a:cubicBezTo>
                    <a:pt x="187" y="161"/>
                    <a:pt x="187" y="161"/>
                    <a:pt x="187" y="161"/>
                  </a:cubicBezTo>
                  <a:cubicBezTo>
                    <a:pt x="171" y="139"/>
                    <a:pt x="171" y="139"/>
                    <a:pt x="171" y="139"/>
                  </a:cubicBezTo>
                  <a:cubicBezTo>
                    <a:pt x="173" y="134"/>
                    <a:pt x="175" y="130"/>
                    <a:pt x="177" y="125"/>
                  </a:cubicBezTo>
                  <a:lnTo>
                    <a:pt x="203" y="121"/>
                  </a:lnTo>
                  <a:close/>
                  <a:moveTo>
                    <a:pt x="102" y="136"/>
                  </a:moveTo>
                  <a:cubicBezTo>
                    <a:pt x="83" y="136"/>
                    <a:pt x="68" y="121"/>
                    <a:pt x="68" y="102"/>
                  </a:cubicBezTo>
                  <a:cubicBezTo>
                    <a:pt x="68" y="84"/>
                    <a:pt x="83" y="69"/>
                    <a:pt x="102" y="69"/>
                  </a:cubicBezTo>
                  <a:cubicBezTo>
                    <a:pt x="120" y="69"/>
                    <a:pt x="135" y="84"/>
                    <a:pt x="135" y="102"/>
                  </a:cubicBezTo>
                  <a:cubicBezTo>
                    <a:pt x="135" y="121"/>
                    <a:pt x="120" y="136"/>
                    <a:pt x="102" y="13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a:ln>
                  <a:noFill/>
                </a:ln>
                <a:solidFill>
                  <a:srgbClr val="000000"/>
                </a:solidFill>
                <a:effectLst/>
                <a:uLnTx/>
                <a:uFillTx/>
                <a:latin typeface="Arial" charset="0"/>
                <a:ea typeface="+mn-ea"/>
                <a:cs typeface="+mn-cs"/>
              </a:endParaRPr>
            </a:p>
          </p:txBody>
        </p:sp>
        <p:sp>
          <p:nvSpPr>
            <p:cNvPr id="94" name="Freeform 72">
              <a:extLst>
                <a:ext uri="{FF2B5EF4-FFF2-40B4-BE49-F238E27FC236}">
                  <a16:creationId xmlns:a16="http://schemas.microsoft.com/office/drawing/2014/main" id="{A552E85E-A970-3420-CEF7-894DDCA3C6F0}"/>
                </a:ext>
              </a:extLst>
            </p:cNvPr>
            <p:cNvSpPr>
              <a:spLocks/>
            </p:cNvSpPr>
            <p:nvPr/>
          </p:nvSpPr>
          <p:spPr bwMode="auto">
            <a:xfrm>
              <a:off x="5673258" y="1061500"/>
              <a:ext cx="251042" cy="128616"/>
            </a:xfrm>
            <a:custGeom>
              <a:avLst/>
              <a:gdLst>
                <a:gd name="T0" fmla="*/ 17837 w 19529"/>
                <a:gd name="T1" fmla="*/ 367 h 10315"/>
                <a:gd name="T2" fmla="*/ 14525 w 19529"/>
                <a:gd name="T3" fmla="*/ 3687 h 10315"/>
                <a:gd name="T4" fmla="*/ 9377 w 19529"/>
                <a:gd name="T5" fmla="*/ 3687 h 10315"/>
                <a:gd name="T6" fmla="*/ 9190 w 19529"/>
                <a:gd name="T7" fmla="*/ 3499 h 10315"/>
                <a:gd name="T8" fmla="*/ 9190 w 19529"/>
                <a:gd name="T9" fmla="*/ 3311 h 10315"/>
                <a:gd name="T10" fmla="*/ 9377 w 19529"/>
                <a:gd name="T11" fmla="*/ 3123 h 10315"/>
                <a:gd name="T12" fmla="*/ 12406 w 19529"/>
                <a:gd name="T13" fmla="*/ 3123 h 10315"/>
                <a:gd name="T14" fmla="*/ 13344 w 19529"/>
                <a:gd name="T15" fmla="*/ 2183 h 10315"/>
                <a:gd name="T16" fmla="*/ 12406 w 19529"/>
                <a:gd name="T17" fmla="*/ 1243 h 10315"/>
                <a:gd name="T18" fmla="*/ 5021 w 19529"/>
                <a:gd name="T19" fmla="*/ 1243 h 10315"/>
                <a:gd name="T20" fmla="*/ 4358 w 19529"/>
                <a:gd name="T21" fmla="*/ 1518 h 10315"/>
                <a:gd name="T22" fmla="*/ 280 w 19529"/>
                <a:gd name="T23" fmla="*/ 5608 h 10315"/>
                <a:gd name="T24" fmla="*/ 5 w 19529"/>
                <a:gd name="T25" fmla="*/ 6291 h 10315"/>
                <a:gd name="T26" fmla="*/ 7 w 19529"/>
                <a:gd name="T27" fmla="*/ 9424 h 10315"/>
                <a:gd name="T28" fmla="*/ 279 w 19529"/>
                <a:gd name="T29" fmla="*/ 10040 h 10315"/>
                <a:gd name="T30" fmla="*/ 942 w 19529"/>
                <a:gd name="T31" fmla="*/ 10315 h 10315"/>
                <a:gd name="T32" fmla="*/ 1606 w 19529"/>
                <a:gd name="T33" fmla="*/ 10040 h 10315"/>
                <a:gd name="T34" fmla="*/ 5410 w 19529"/>
                <a:gd name="T35" fmla="*/ 6226 h 10315"/>
                <a:gd name="T36" fmla="*/ 14257 w 19529"/>
                <a:gd name="T37" fmla="*/ 6226 h 10315"/>
                <a:gd name="T38" fmla="*/ 14920 w 19529"/>
                <a:gd name="T39" fmla="*/ 5951 h 10315"/>
                <a:gd name="T40" fmla="*/ 19163 w 19529"/>
                <a:gd name="T41" fmla="*/ 1697 h 10315"/>
                <a:gd name="T42" fmla="*/ 19163 w 19529"/>
                <a:gd name="T43" fmla="*/ 367 h 10315"/>
                <a:gd name="T44" fmla="*/ 17837 w 19529"/>
                <a:gd name="T45" fmla="*/ 367 h 10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529" h="10315">
                  <a:moveTo>
                    <a:pt x="17837" y="367"/>
                  </a:moveTo>
                  <a:lnTo>
                    <a:pt x="14525" y="3687"/>
                  </a:lnTo>
                  <a:lnTo>
                    <a:pt x="9377" y="3687"/>
                  </a:lnTo>
                  <a:cubicBezTo>
                    <a:pt x="9274" y="3687"/>
                    <a:pt x="9190" y="3603"/>
                    <a:pt x="9190" y="3499"/>
                  </a:cubicBezTo>
                  <a:lnTo>
                    <a:pt x="9190" y="3311"/>
                  </a:lnTo>
                  <a:cubicBezTo>
                    <a:pt x="9190" y="3207"/>
                    <a:pt x="9274" y="3123"/>
                    <a:pt x="9377" y="3123"/>
                  </a:cubicBezTo>
                  <a:lnTo>
                    <a:pt x="12406" y="3123"/>
                  </a:lnTo>
                  <a:cubicBezTo>
                    <a:pt x="12924" y="3123"/>
                    <a:pt x="13344" y="2702"/>
                    <a:pt x="13344" y="2183"/>
                  </a:cubicBezTo>
                  <a:cubicBezTo>
                    <a:pt x="13344" y="1664"/>
                    <a:pt x="12924" y="1243"/>
                    <a:pt x="12406" y="1243"/>
                  </a:cubicBezTo>
                  <a:lnTo>
                    <a:pt x="5021" y="1243"/>
                  </a:lnTo>
                  <a:cubicBezTo>
                    <a:pt x="4773" y="1243"/>
                    <a:pt x="4534" y="1342"/>
                    <a:pt x="4358" y="1518"/>
                  </a:cubicBezTo>
                  <a:lnTo>
                    <a:pt x="280" y="5608"/>
                  </a:lnTo>
                  <a:cubicBezTo>
                    <a:pt x="92" y="5796"/>
                    <a:pt x="0" y="6045"/>
                    <a:pt x="5" y="6291"/>
                  </a:cubicBezTo>
                  <a:cubicBezTo>
                    <a:pt x="9" y="6463"/>
                    <a:pt x="1" y="9296"/>
                    <a:pt x="7" y="9424"/>
                  </a:cubicBezTo>
                  <a:cubicBezTo>
                    <a:pt x="18" y="9648"/>
                    <a:pt x="109" y="9869"/>
                    <a:pt x="279" y="10040"/>
                  </a:cubicBezTo>
                  <a:cubicBezTo>
                    <a:pt x="462" y="10223"/>
                    <a:pt x="702" y="10315"/>
                    <a:pt x="942" y="10315"/>
                  </a:cubicBezTo>
                  <a:cubicBezTo>
                    <a:pt x="1182" y="10315"/>
                    <a:pt x="1422" y="10223"/>
                    <a:pt x="1606" y="10040"/>
                  </a:cubicBezTo>
                  <a:lnTo>
                    <a:pt x="5410" y="6226"/>
                  </a:lnTo>
                  <a:lnTo>
                    <a:pt x="14257" y="6226"/>
                  </a:lnTo>
                  <a:cubicBezTo>
                    <a:pt x="14506" y="6226"/>
                    <a:pt x="14744" y="6127"/>
                    <a:pt x="14920" y="5951"/>
                  </a:cubicBezTo>
                  <a:lnTo>
                    <a:pt x="19163" y="1697"/>
                  </a:lnTo>
                  <a:cubicBezTo>
                    <a:pt x="19529" y="1329"/>
                    <a:pt x="19529" y="734"/>
                    <a:pt x="19163" y="367"/>
                  </a:cubicBezTo>
                  <a:cubicBezTo>
                    <a:pt x="18797" y="0"/>
                    <a:pt x="18203" y="0"/>
                    <a:pt x="17837" y="367"/>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charset="0"/>
                <a:ea typeface="+mn-ea"/>
                <a:cs typeface="+mn-cs"/>
              </a:endParaRPr>
            </a:p>
          </p:txBody>
        </p:sp>
      </p:grpSp>
      <p:sp>
        <p:nvSpPr>
          <p:cNvPr id="72" name="Title 1">
            <a:extLst>
              <a:ext uri="{FF2B5EF4-FFF2-40B4-BE49-F238E27FC236}">
                <a16:creationId xmlns:a16="http://schemas.microsoft.com/office/drawing/2014/main" id="{0EDD6EE3-D49A-A045-3CF4-4724C1523316}"/>
              </a:ext>
            </a:extLst>
          </p:cNvPr>
          <p:cNvSpPr>
            <a:spLocks noGrp="1"/>
          </p:cNvSpPr>
          <p:nvPr>
            <p:ph type="title"/>
          </p:nvPr>
        </p:nvSpPr>
        <p:spPr bwMode="gray">
          <a:xfrm>
            <a:off x="0" y="0"/>
            <a:ext cx="12191979" cy="1292630"/>
          </a:xfrm>
          <a:prstGeom prst="rect">
            <a:avLst/>
          </a:prstGeom>
          <a:solidFill>
            <a:srgbClr val="002576"/>
          </a:solidFill>
          <a:ln>
            <a:noFill/>
          </a:ln>
          <a:effectLst/>
        </p:spPr>
        <p:txBody>
          <a:bodyPr vert="horz" wrap="square" lIns="91440" tIns="45720" rIns="91440" bIns="45720" numCol="1" rtlCol="0" anchor="ctr" anchorCtr="0" compatLnSpc="1">
            <a:prstTxWarp prst="textNoShape">
              <a:avLst/>
            </a:prstTxWarp>
            <a:noAutofit/>
          </a:bodyPr>
          <a:lstStyle/>
          <a:p>
            <a:pPr algn="ctr" defTabSz="457200">
              <a:spcAft>
                <a:spcPts val="0"/>
              </a:spcAft>
              <a:tabLst/>
            </a:pPr>
            <a:r>
              <a:rPr lang="en-US" sz="2800" dirty="0">
                <a:solidFill>
                  <a:schemeClr val="bg1"/>
                </a:solidFill>
                <a:latin typeface="Arial Black"/>
              </a:rPr>
              <a:t>MEDC Real Estate Development Tools</a:t>
            </a:r>
            <a:endParaRPr lang="en-US" sz="2800" dirty="0">
              <a:solidFill>
                <a:schemeClr val="bg1"/>
              </a:solidFill>
            </a:endParaRPr>
          </a:p>
        </p:txBody>
      </p:sp>
      <p:sp>
        <p:nvSpPr>
          <p:cNvPr id="4" name="Rectangle 3" hidden="1">
            <a:extLst>
              <a:ext uri="{FF2B5EF4-FFF2-40B4-BE49-F238E27FC236}">
                <a16:creationId xmlns:a16="http://schemas.microsoft.com/office/drawing/2014/main" id="{9D3850B2-4706-5300-E179-8E49581535A7}"/>
              </a:ext>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grpSp>
        <p:nvGrpSpPr>
          <p:cNvPr id="13" name="Group 12">
            <a:extLst>
              <a:ext uri="{FF2B5EF4-FFF2-40B4-BE49-F238E27FC236}">
                <a16:creationId xmlns:a16="http://schemas.microsoft.com/office/drawing/2014/main" id="{C171FE44-E530-0DFB-0957-332A0BA4A40C}"/>
              </a:ext>
            </a:extLst>
          </p:cNvPr>
          <p:cNvGrpSpPr/>
          <p:nvPr/>
        </p:nvGrpSpPr>
        <p:grpSpPr>
          <a:xfrm>
            <a:off x="1017901" y="1866620"/>
            <a:ext cx="2755161" cy="4377484"/>
            <a:chOff x="4774677" y="1655327"/>
            <a:chExt cx="2476285" cy="4377484"/>
          </a:xfrm>
        </p:grpSpPr>
        <p:sp>
          <p:nvSpPr>
            <p:cNvPr id="46" name="Arrow: Pentagon 45">
              <a:extLst>
                <a:ext uri="{FF2B5EF4-FFF2-40B4-BE49-F238E27FC236}">
                  <a16:creationId xmlns:a16="http://schemas.microsoft.com/office/drawing/2014/main" id="{9D7BF18D-FA91-5C83-FF90-53DB38D4456E}"/>
                </a:ext>
              </a:extLst>
            </p:cNvPr>
            <p:cNvSpPr/>
            <p:nvPr/>
          </p:nvSpPr>
          <p:spPr>
            <a:xfrm rot="5400000">
              <a:off x="3824078" y="2605926"/>
              <a:ext cx="4377484" cy="2476285"/>
            </a:xfrm>
            <a:prstGeom prst="homePlate">
              <a:avLst>
                <a:gd name="adj" fmla="val 18937"/>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640080" tIns="182880" bIns="182880" rtlCol="0" anchor="t"/>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br>
                <a:rPr kumimoji="0" lang="en-US" sz="3200" b="1" i="0" u="none" strike="noStrike" kern="1200" cap="none" spc="0" normalizeH="0" baseline="0" noProof="0" dirty="0">
                  <a:ln>
                    <a:noFill/>
                  </a:ln>
                  <a:solidFill>
                    <a:srgbClr val="FFFFFF"/>
                  </a:solidFill>
                  <a:effectLst/>
                  <a:uLnTx/>
                  <a:uFillTx/>
                  <a:latin typeface="Arial"/>
                  <a:ea typeface="+mn-ea"/>
                  <a:cs typeface="+mn-cs"/>
                </a:rPr>
              </a:br>
              <a:endParaRPr kumimoji="0" lang="en-US" sz="32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endParaRPr lang="en-US" sz="3200" b="1" dirty="0">
                <a:solidFill>
                  <a:srgbClr val="FFFFFF"/>
                </a:solidFill>
                <a:latin typeface="Arial"/>
              </a:endParaRPr>
            </a:p>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n-US" sz="3200" b="1" i="0" u="none" strike="noStrike" kern="1200" cap="none" spc="0" normalizeH="0" baseline="0" noProof="0" dirty="0">
                  <a:ln>
                    <a:noFill/>
                  </a:ln>
                  <a:solidFill>
                    <a:srgbClr val="FFFFFF"/>
                  </a:solidFill>
                  <a:effectLst/>
                  <a:uLnTx/>
                  <a:uFillTx/>
                  <a:latin typeface="Arial"/>
                  <a:ea typeface="+mn-ea"/>
                  <a:cs typeface="+mn-cs"/>
                </a:rPr>
                <a:t>Grants</a:t>
              </a:r>
            </a:p>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endParaRPr lang="en-US" sz="3200" b="1" dirty="0">
                <a:solidFill>
                  <a:srgbClr val="FFFFFF"/>
                </a:solidFill>
                <a:latin typeface="Arial"/>
              </a:endParaRPr>
            </a:p>
          </p:txBody>
        </p:sp>
        <p:pic>
          <p:nvPicPr>
            <p:cNvPr id="21" name="Picture 20" descr="Fork In Road with solid fill">
              <a:extLst>
                <a:ext uri="{FF2B5EF4-FFF2-40B4-BE49-F238E27FC236}">
                  <a16:creationId xmlns:a16="http://schemas.microsoft.com/office/drawing/2014/main" id="{D75FFBDA-D78F-EBDD-7429-E79988228F0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5553307" y="1827697"/>
              <a:ext cx="746196" cy="746196"/>
            </a:xfrm>
            <a:prstGeom prst="rect">
              <a:avLst/>
            </a:prstGeom>
          </p:spPr>
        </p:pic>
      </p:grpSp>
      <p:sp>
        <p:nvSpPr>
          <p:cNvPr id="9" name="Rectangle 8">
            <a:extLst>
              <a:ext uri="{FF2B5EF4-FFF2-40B4-BE49-F238E27FC236}">
                <a16:creationId xmlns:a16="http://schemas.microsoft.com/office/drawing/2014/main" id="{2CC9295C-EE55-E556-D407-237A08112219}"/>
              </a:ext>
            </a:extLst>
          </p:cNvPr>
          <p:cNvSpPr/>
          <p:nvPr/>
        </p:nvSpPr>
        <p:spPr>
          <a:xfrm>
            <a:off x="10883" y="1291012"/>
            <a:ext cx="12192000" cy="87733"/>
          </a:xfrm>
          <a:prstGeom prst="rect">
            <a:avLst/>
          </a:prstGeom>
          <a:solidFill>
            <a:srgbClr val="9CCF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extBox 1">
            <a:extLst>
              <a:ext uri="{FF2B5EF4-FFF2-40B4-BE49-F238E27FC236}">
                <a16:creationId xmlns:a16="http://schemas.microsoft.com/office/drawing/2014/main" id="{E53D393D-72AA-B015-8935-ECBD902A0A87}"/>
              </a:ext>
            </a:extLst>
          </p:cNvPr>
          <p:cNvSpPr txBox="1"/>
          <p:nvPr/>
        </p:nvSpPr>
        <p:spPr>
          <a:xfrm>
            <a:off x="4049486" y="1763576"/>
            <a:ext cx="7664176" cy="4401205"/>
          </a:xfrm>
          <a:prstGeom prst="rect">
            <a:avLst/>
          </a:prstGeom>
          <a:noFill/>
        </p:spPr>
        <p:txBody>
          <a:bodyPr wrap="square" rtlCol="0">
            <a:spAutoFit/>
          </a:bodyPr>
          <a:lstStyle/>
          <a:p>
            <a:pPr marL="457200" indent="-457200">
              <a:buFont typeface="Arial" panose="020B0604020202020204" pitchFamily="34" charset="0"/>
              <a:buChar char="•"/>
            </a:pPr>
            <a:r>
              <a:rPr lang="en-US" sz="2800" dirty="0"/>
              <a:t>Grant programs can change year to year depending on the budget allocated by the legislature</a:t>
            </a:r>
          </a:p>
          <a:p>
            <a:pPr marL="457200" indent="-457200">
              <a:buFont typeface="Arial" panose="020B0604020202020204" pitchFamily="34" charset="0"/>
              <a:buChar char="•"/>
            </a:pPr>
            <a:endParaRPr lang="en-US" sz="2800" dirty="0"/>
          </a:p>
          <a:p>
            <a:pPr marL="457200" indent="-457200">
              <a:buFont typeface="Arial" panose="020B0604020202020204" pitchFamily="34" charset="0"/>
              <a:buChar char="•"/>
            </a:pPr>
            <a:r>
              <a:rPr lang="en-US" sz="2800" dirty="0"/>
              <a:t>Grant guidelines thus change too</a:t>
            </a:r>
          </a:p>
          <a:p>
            <a:pPr marL="457200" indent="-457200">
              <a:buFont typeface="Arial" panose="020B0604020202020204" pitchFamily="34" charset="0"/>
              <a:buChar char="•"/>
            </a:pPr>
            <a:endParaRPr lang="en-US" sz="2800" dirty="0"/>
          </a:p>
          <a:p>
            <a:pPr marL="457200" indent="-457200">
              <a:buFont typeface="Arial" panose="020B0604020202020204" pitchFamily="34" charset="0"/>
              <a:buChar char="•"/>
            </a:pPr>
            <a:r>
              <a:rPr lang="en-US" sz="2800" dirty="0"/>
              <a:t>Historically, grants maximums have been </a:t>
            </a:r>
            <a:br>
              <a:rPr lang="en-US" sz="2800" dirty="0"/>
            </a:br>
            <a:r>
              <a:rPr lang="en-US" sz="2800" dirty="0"/>
              <a:t>50% of eligible expenses or $1.5m – whichever is less</a:t>
            </a:r>
          </a:p>
          <a:p>
            <a:r>
              <a:rPr lang="en-US" sz="2800" dirty="0"/>
              <a:t> </a:t>
            </a:r>
          </a:p>
        </p:txBody>
      </p:sp>
    </p:spTree>
    <p:extLst>
      <p:ext uri="{BB962C8B-B14F-4D97-AF65-F5344CB8AC3E}">
        <p14:creationId xmlns:p14="http://schemas.microsoft.com/office/powerpoint/2010/main" val="52614725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1932CE7-3408-9FCA-0893-27980DEF209D}"/>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E3549814-3AB1-3379-07A3-DE020FB9C02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E3549814-3AB1-3379-07A3-DE020FB9C02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80274A25-41CF-EF21-66EE-DD8A6951680D}"/>
              </a:ext>
            </a:extLst>
          </p:cNvPr>
          <p:cNvGrpSpPr/>
          <p:nvPr/>
        </p:nvGrpSpPr>
        <p:grpSpPr>
          <a:xfrm>
            <a:off x="11660635" y="1104552"/>
            <a:ext cx="144734" cy="128417"/>
            <a:chOff x="11633817" y="1102402"/>
            <a:chExt cx="231147" cy="205087"/>
          </a:xfrm>
        </p:grpSpPr>
        <p:sp>
          <p:nvSpPr>
            <p:cNvPr id="151" name="Freeform 19">
              <a:extLst>
                <a:ext uri="{FF2B5EF4-FFF2-40B4-BE49-F238E27FC236}">
                  <a16:creationId xmlns:a16="http://schemas.microsoft.com/office/drawing/2014/main" id="{FC350CA4-B813-061D-EDBF-16F93EF3DDFE}"/>
                </a:ext>
              </a:extLst>
            </p:cNvPr>
            <p:cNvSpPr>
              <a:spLocks/>
            </p:cNvSpPr>
            <p:nvPr/>
          </p:nvSpPr>
          <p:spPr bwMode="auto">
            <a:xfrm>
              <a:off x="11676657" y="1169876"/>
              <a:ext cx="83691" cy="29778"/>
            </a:xfrm>
            <a:custGeom>
              <a:avLst/>
              <a:gdLst>
                <a:gd name="T0" fmla="*/ 107 w 206"/>
                <a:gd name="T1" fmla="*/ 77 h 77"/>
                <a:gd name="T2" fmla="*/ 107 w 206"/>
                <a:gd name="T3" fmla="*/ 77 h 77"/>
                <a:gd name="T4" fmla="*/ 106 w 206"/>
                <a:gd name="T5" fmla="*/ 77 h 77"/>
                <a:gd name="T6" fmla="*/ 5 w 206"/>
                <a:gd name="T7" fmla="*/ 26 h 77"/>
                <a:gd name="T8" fmla="*/ 8 w 206"/>
                <a:gd name="T9" fmla="*/ 5 h 77"/>
                <a:gd name="T10" fmla="*/ 29 w 206"/>
                <a:gd name="T11" fmla="*/ 8 h 77"/>
                <a:gd name="T12" fmla="*/ 107 w 206"/>
                <a:gd name="T13" fmla="*/ 46 h 77"/>
                <a:gd name="T14" fmla="*/ 177 w 206"/>
                <a:gd name="T15" fmla="*/ 7 h 77"/>
                <a:gd name="T16" fmla="*/ 199 w 206"/>
                <a:gd name="T17" fmla="*/ 5 h 77"/>
                <a:gd name="T18" fmla="*/ 201 w 206"/>
                <a:gd name="T19" fmla="*/ 26 h 77"/>
                <a:gd name="T20" fmla="*/ 107 w 206"/>
                <a:gd name="T21"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6" h="77">
                  <a:moveTo>
                    <a:pt x="107" y="77"/>
                  </a:moveTo>
                  <a:cubicBezTo>
                    <a:pt x="107" y="77"/>
                    <a:pt x="107" y="77"/>
                    <a:pt x="107" y="77"/>
                  </a:cubicBezTo>
                  <a:cubicBezTo>
                    <a:pt x="106" y="77"/>
                    <a:pt x="106" y="77"/>
                    <a:pt x="106" y="77"/>
                  </a:cubicBezTo>
                  <a:cubicBezTo>
                    <a:pt x="52" y="74"/>
                    <a:pt x="13" y="36"/>
                    <a:pt x="5" y="26"/>
                  </a:cubicBezTo>
                  <a:cubicBezTo>
                    <a:pt x="0" y="19"/>
                    <a:pt x="1" y="10"/>
                    <a:pt x="8" y="5"/>
                  </a:cubicBezTo>
                  <a:cubicBezTo>
                    <a:pt x="15" y="0"/>
                    <a:pt x="24" y="1"/>
                    <a:pt x="29" y="8"/>
                  </a:cubicBezTo>
                  <a:cubicBezTo>
                    <a:pt x="34" y="14"/>
                    <a:pt x="66" y="44"/>
                    <a:pt x="107" y="46"/>
                  </a:cubicBezTo>
                  <a:cubicBezTo>
                    <a:pt x="145" y="46"/>
                    <a:pt x="177" y="8"/>
                    <a:pt x="177" y="7"/>
                  </a:cubicBezTo>
                  <a:cubicBezTo>
                    <a:pt x="182" y="1"/>
                    <a:pt x="192" y="0"/>
                    <a:pt x="199" y="5"/>
                  </a:cubicBezTo>
                  <a:cubicBezTo>
                    <a:pt x="205" y="10"/>
                    <a:pt x="206" y="20"/>
                    <a:pt x="201" y="26"/>
                  </a:cubicBezTo>
                  <a:cubicBezTo>
                    <a:pt x="199" y="28"/>
                    <a:pt x="160" y="77"/>
                    <a:pt x="107" y="7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a:ln>
                  <a:noFill/>
                </a:ln>
                <a:solidFill>
                  <a:srgbClr val="000000"/>
                </a:solidFill>
                <a:effectLst/>
                <a:uLnTx/>
                <a:uFillTx/>
                <a:latin typeface="Arial" charset="0"/>
                <a:ea typeface="+mn-ea"/>
                <a:cs typeface="+mn-cs"/>
              </a:endParaRPr>
            </a:p>
          </p:txBody>
        </p:sp>
        <p:sp>
          <p:nvSpPr>
            <p:cNvPr id="152" name="Freeform 20">
              <a:extLst>
                <a:ext uri="{FF2B5EF4-FFF2-40B4-BE49-F238E27FC236}">
                  <a16:creationId xmlns:a16="http://schemas.microsoft.com/office/drawing/2014/main" id="{86B841BB-C579-7A23-726D-68C6D00C944C}"/>
                </a:ext>
              </a:extLst>
            </p:cNvPr>
            <p:cNvSpPr>
              <a:spLocks noEditPoints="1"/>
            </p:cNvSpPr>
            <p:nvPr/>
          </p:nvSpPr>
          <p:spPr bwMode="auto">
            <a:xfrm>
              <a:off x="11633817" y="1102402"/>
              <a:ext cx="231147" cy="205087"/>
            </a:xfrm>
            <a:custGeom>
              <a:avLst/>
              <a:gdLst>
                <a:gd name="T0" fmla="*/ 550 w 570"/>
                <a:gd name="T1" fmla="*/ 406 h 524"/>
                <a:gd name="T2" fmla="*/ 397 w 570"/>
                <a:gd name="T3" fmla="*/ 305 h 524"/>
                <a:gd name="T4" fmla="*/ 395 w 570"/>
                <a:gd name="T5" fmla="*/ 304 h 524"/>
                <a:gd name="T6" fmla="*/ 418 w 570"/>
                <a:gd name="T7" fmla="*/ 209 h 524"/>
                <a:gd name="T8" fmla="*/ 209 w 570"/>
                <a:gd name="T9" fmla="*/ 0 h 524"/>
                <a:gd name="T10" fmla="*/ 0 w 570"/>
                <a:gd name="T11" fmla="*/ 209 h 524"/>
                <a:gd name="T12" fmla="*/ 209 w 570"/>
                <a:gd name="T13" fmla="*/ 418 h 524"/>
                <a:gd name="T14" fmla="*/ 336 w 570"/>
                <a:gd name="T15" fmla="*/ 375 h 524"/>
                <a:gd name="T16" fmla="*/ 337 w 570"/>
                <a:gd name="T17" fmla="*/ 376 h 524"/>
                <a:gd name="T18" fmla="*/ 464 w 570"/>
                <a:gd name="T19" fmla="*/ 510 h 524"/>
                <a:gd name="T20" fmla="*/ 520 w 570"/>
                <a:gd name="T21" fmla="*/ 505 h 524"/>
                <a:gd name="T22" fmla="*/ 556 w 570"/>
                <a:gd name="T23" fmla="*/ 462 h 524"/>
                <a:gd name="T24" fmla="*/ 550 w 570"/>
                <a:gd name="T25" fmla="*/ 406 h 524"/>
                <a:gd name="T26" fmla="*/ 209 w 570"/>
                <a:gd name="T27" fmla="*/ 364 h 524"/>
                <a:gd name="T28" fmla="*/ 54 w 570"/>
                <a:gd name="T29" fmla="*/ 209 h 524"/>
                <a:gd name="T30" fmla="*/ 209 w 570"/>
                <a:gd name="T31" fmla="*/ 54 h 524"/>
                <a:gd name="T32" fmla="*/ 364 w 570"/>
                <a:gd name="T33" fmla="*/ 209 h 524"/>
                <a:gd name="T34" fmla="*/ 209 w 570"/>
                <a:gd name="T35" fmla="*/ 36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0" h="524">
                  <a:moveTo>
                    <a:pt x="550" y="406"/>
                  </a:moveTo>
                  <a:cubicBezTo>
                    <a:pt x="397" y="305"/>
                    <a:pt x="397" y="305"/>
                    <a:pt x="397" y="305"/>
                  </a:cubicBezTo>
                  <a:cubicBezTo>
                    <a:pt x="396" y="305"/>
                    <a:pt x="396" y="304"/>
                    <a:pt x="395" y="304"/>
                  </a:cubicBezTo>
                  <a:cubicBezTo>
                    <a:pt x="410" y="276"/>
                    <a:pt x="418" y="243"/>
                    <a:pt x="418" y="209"/>
                  </a:cubicBezTo>
                  <a:cubicBezTo>
                    <a:pt x="418" y="94"/>
                    <a:pt x="324" y="0"/>
                    <a:pt x="209" y="0"/>
                  </a:cubicBezTo>
                  <a:cubicBezTo>
                    <a:pt x="94" y="0"/>
                    <a:pt x="0" y="94"/>
                    <a:pt x="0" y="209"/>
                  </a:cubicBezTo>
                  <a:cubicBezTo>
                    <a:pt x="0" y="324"/>
                    <a:pt x="94" y="418"/>
                    <a:pt x="209" y="418"/>
                  </a:cubicBezTo>
                  <a:cubicBezTo>
                    <a:pt x="257" y="418"/>
                    <a:pt x="301" y="402"/>
                    <a:pt x="336" y="375"/>
                  </a:cubicBezTo>
                  <a:cubicBezTo>
                    <a:pt x="336" y="375"/>
                    <a:pt x="337" y="376"/>
                    <a:pt x="337" y="376"/>
                  </a:cubicBezTo>
                  <a:cubicBezTo>
                    <a:pt x="464" y="510"/>
                    <a:pt x="464" y="510"/>
                    <a:pt x="464" y="510"/>
                  </a:cubicBezTo>
                  <a:cubicBezTo>
                    <a:pt x="481" y="524"/>
                    <a:pt x="506" y="522"/>
                    <a:pt x="520" y="505"/>
                  </a:cubicBezTo>
                  <a:cubicBezTo>
                    <a:pt x="556" y="462"/>
                    <a:pt x="556" y="462"/>
                    <a:pt x="556" y="462"/>
                  </a:cubicBezTo>
                  <a:cubicBezTo>
                    <a:pt x="570" y="445"/>
                    <a:pt x="567" y="420"/>
                    <a:pt x="550" y="406"/>
                  </a:cubicBezTo>
                  <a:close/>
                  <a:moveTo>
                    <a:pt x="209" y="364"/>
                  </a:moveTo>
                  <a:cubicBezTo>
                    <a:pt x="123" y="364"/>
                    <a:pt x="54" y="295"/>
                    <a:pt x="54" y="209"/>
                  </a:cubicBezTo>
                  <a:cubicBezTo>
                    <a:pt x="54" y="124"/>
                    <a:pt x="123" y="54"/>
                    <a:pt x="209" y="54"/>
                  </a:cubicBezTo>
                  <a:cubicBezTo>
                    <a:pt x="295" y="54"/>
                    <a:pt x="364" y="124"/>
                    <a:pt x="364" y="209"/>
                  </a:cubicBezTo>
                  <a:cubicBezTo>
                    <a:pt x="364" y="295"/>
                    <a:pt x="295" y="364"/>
                    <a:pt x="209" y="36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a:ln>
                  <a:noFill/>
                </a:ln>
                <a:solidFill>
                  <a:srgbClr val="000000"/>
                </a:solidFill>
                <a:effectLst/>
                <a:uLnTx/>
                <a:uFillTx/>
                <a:latin typeface="Arial" charset="0"/>
                <a:ea typeface="+mn-ea"/>
                <a:cs typeface="+mn-cs"/>
              </a:endParaRPr>
            </a:p>
          </p:txBody>
        </p:sp>
      </p:grpSp>
      <p:grpSp>
        <p:nvGrpSpPr>
          <p:cNvPr id="226" name="Group 225">
            <a:extLst>
              <a:ext uri="{FF2B5EF4-FFF2-40B4-BE49-F238E27FC236}">
                <a16:creationId xmlns:a16="http://schemas.microsoft.com/office/drawing/2014/main" id="{75B06441-25AC-6EB1-D056-3E86B9C10D56}"/>
              </a:ext>
            </a:extLst>
          </p:cNvPr>
          <p:cNvGrpSpPr/>
          <p:nvPr/>
        </p:nvGrpSpPr>
        <p:grpSpPr>
          <a:xfrm>
            <a:off x="5713706" y="1094902"/>
            <a:ext cx="170146" cy="178230"/>
            <a:chOff x="5673258" y="927146"/>
            <a:chExt cx="251042" cy="262970"/>
          </a:xfrm>
        </p:grpSpPr>
        <p:sp>
          <p:nvSpPr>
            <p:cNvPr id="200" name="Freeform 14">
              <a:extLst>
                <a:ext uri="{FF2B5EF4-FFF2-40B4-BE49-F238E27FC236}">
                  <a16:creationId xmlns:a16="http://schemas.microsoft.com/office/drawing/2014/main" id="{F9A17BEF-7CEE-BF4B-7CA2-88360478D41E}"/>
                </a:ext>
              </a:extLst>
            </p:cNvPr>
            <p:cNvSpPr>
              <a:spLocks noEditPoints="1"/>
            </p:cNvSpPr>
            <p:nvPr/>
          </p:nvSpPr>
          <p:spPr bwMode="auto">
            <a:xfrm>
              <a:off x="5785978" y="927146"/>
              <a:ext cx="128800" cy="125036"/>
            </a:xfrm>
            <a:custGeom>
              <a:avLst/>
              <a:gdLst>
                <a:gd name="T0" fmla="*/ 203 w 203"/>
                <a:gd name="T1" fmla="*/ 121 h 204"/>
                <a:gd name="T2" fmla="*/ 203 w 203"/>
                <a:gd name="T3" fmla="*/ 83 h 204"/>
                <a:gd name="T4" fmla="*/ 177 w 203"/>
                <a:gd name="T5" fmla="*/ 79 h 204"/>
                <a:gd name="T6" fmla="*/ 171 w 203"/>
                <a:gd name="T7" fmla="*/ 66 h 204"/>
                <a:gd name="T8" fmla="*/ 187 w 203"/>
                <a:gd name="T9" fmla="*/ 44 h 204"/>
                <a:gd name="T10" fmla="*/ 160 w 203"/>
                <a:gd name="T11" fmla="*/ 17 h 204"/>
                <a:gd name="T12" fmla="*/ 138 w 203"/>
                <a:gd name="T13" fmla="*/ 32 h 204"/>
                <a:gd name="T14" fmla="*/ 125 w 203"/>
                <a:gd name="T15" fmla="*/ 27 h 204"/>
                <a:gd name="T16" fmla="*/ 120 w 203"/>
                <a:gd name="T17" fmla="*/ 0 h 204"/>
                <a:gd name="T18" fmla="*/ 83 w 203"/>
                <a:gd name="T19" fmla="*/ 0 h 204"/>
                <a:gd name="T20" fmla="*/ 78 w 203"/>
                <a:gd name="T21" fmla="*/ 27 h 204"/>
                <a:gd name="T22" fmla="*/ 65 w 203"/>
                <a:gd name="T23" fmla="*/ 32 h 204"/>
                <a:gd name="T24" fmla="*/ 43 w 203"/>
                <a:gd name="T25" fmla="*/ 17 h 204"/>
                <a:gd name="T26" fmla="*/ 16 w 203"/>
                <a:gd name="T27" fmla="*/ 44 h 204"/>
                <a:gd name="T28" fmla="*/ 32 w 203"/>
                <a:gd name="T29" fmla="*/ 66 h 204"/>
                <a:gd name="T30" fmla="*/ 27 w 203"/>
                <a:gd name="T31" fmla="*/ 79 h 204"/>
                <a:gd name="T32" fmla="*/ 0 w 203"/>
                <a:gd name="T33" fmla="*/ 83 h 204"/>
                <a:gd name="T34" fmla="*/ 0 w 203"/>
                <a:gd name="T35" fmla="*/ 121 h 204"/>
                <a:gd name="T36" fmla="*/ 27 w 203"/>
                <a:gd name="T37" fmla="*/ 125 h 204"/>
                <a:gd name="T38" fmla="*/ 32 w 203"/>
                <a:gd name="T39" fmla="*/ 139 h 204"/>
                <a:gd name="T40" fmla="*/ 16 w 203"/>
                <a:gd name="T41" fmla="*/ 161 h 204"/>
                <a:gd name="T42" fmla="*/ 43 w 203"/>
                <a:gd name="T43" fmla="*/ 187 h 204"/>
                <a:gd name="T44" fmla="*/ 65 w 203"/>
                <a:gd name="T45" fmla="*/ 172 h 204"/>
                <a:gd name="T46" fmla="*/ 78 w 203"/>
                <a:gd name="T47" fmla="*/ 177 h 204"/>
                <a:gd name="T48" fmla="*/ 83 w 203"/>
                <a:gd name="T49" fmla="*/ 204 h 204"/>
                <a:gd name="T50" fmla="*/ 120 w 203"/>
                <a:gd name="T51" fmla="*/ 204 h 204"/>
                <a:gd name="T52" fmla="*/ 125 w 203"/>
                <a:gd name="T53" fmla="*/ 177 h 204"/>
                <a:gd name="T54" fmla="*/ 138 w 203"/>
                <a:gd name="T55" fmla="*/ 172 h 204"/>
                <a:gd name="T56" fmla="*/ 160 w 203"/>
                <a:gd name="T57" fmla="*/ 187 h 204"/>
                <a:gd name="T58" fmla="*/ 187 w 203"/>
                <a:gd name="T59" fmla="*/ 161 h 204"/>
                <a:gd name="T60" fmla="*/ 171 w 203"/>
                <a:gd name="T61" fmla="*/ 139 h 204"/>
                <a:gd name="T62" fmla="*/ 177 w 203"/>
                <a:gd name="T63" fmla="*/ 125 h 204"/>
                <a:gd name="T64" fmla="*/ 203 w 203"/>
                <a:gd name="T65" fmla="*/ 121 h 204"/>
                <a:gd name="T66" fmla="*/ 102 w 203"/>
                <a:gd name="T67" fmla="*/ 136 h 204"/>
                <a:gd name="T68" fmla="*/ 68 w 203"/>
                <a:gd name="T69" fmla="*/ 102 h 204"/>
                <a:gd name="T70" fmla="*/ 102 w 203"/>
                <a:gd name="T71" fmla="*/ 69 h 204"/>
                <a:gd name="T72" fmla="*/ 135 w 203"/>
                <a:gd name="T73" fmla="*/ 102 h 204"/>
                <a:gd name="T74" fmla="*/ 102 w 203"/>
                <a:gd name="T75" fmla="*/ 13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3" h="204">
                  <a:moveTo>
                    <a:pt x="203" y="121"/>
                  </a:moveTo>
                  <a:cubicBezTo>
                    <a:pt x="203" y="83"/>
                    <a:pt x="203" y="83"/>
                    <a:pt x="203" y="83"/>
                  </a:cubicBezTo>
                  <a:cubicBezTo>
                    <a:pt x="177" y="79"/>
                    <a:pt x="177" y="79"/>
                    <a:pt x="177" y="79"/>
                  </a:cubicBezTo>
                  <a:cubicBezTo>
                    <a:pt x="175" y="74"/>
                    <a:pt x="173" y="70"/>
                    <a:pt x="171" y="66"/>
                  </a:cubicBezTo>
                  <a:cubicBezTo>
                    <a:pt x="187" y="44"/>
                    <a:pt x="187" y="44"/>
                    <a:pt x="187" y="44"/>
                  </a:cubicBezTo>
                  <a:cubicBezTo>
                    <a:pt x="160" y="17"/>
                    <a:pt x="160" y="17"/>
                    <a:pt x="160" y="17"/>
                  </a:cubicBezTo>
                  <a:cubicBezTo>
                    <a:pt x="138" y="32"/>
                    <a:pt x="138" y="32"/>
                    <a:pt x="138" y="32"/>
                  </a:cubicBezTo>
                  <a:cubicBezTo>
                    <a:pt x="134" y="30"/>
                    <a:pt x="130" y="28"/>
                    <a:pt x="125" y="27"/>
                  </a:cubicBezTo>
                  <a:cubicBezTo>
                    <a:pt x="120" y="0"/>
                    <a:pt x="120" y="0"/>
                    <a:pt x="120" y="0"/>
                  </a:cubicBezTo>
                  <a:cubicBezTo>
                    <a:pt x="83" y="0"/>
                    <a:pt x="83" y="0"/>
                    <a:pt x="83" y="0"/>
                  </a:cubicBezTo>
                  <a:cubicBezTo>
                    <a:pt x="78" y="27"/>
                    <a:pt x="78" y="27"/>
                    <a:pt x="78" y="27"/>
                  </a:cubicBezTo>
                  <a:cubicBezTo>
                    <a:pt x="74" y="28"/>
                    <a:pt x="69" y="30"/>
                    <a:pt x="65" y="32"/>
                  </a:cubicBezTo>
                  <a:cubicBezTo>
                    <a:pt x="43" y="17"/>
                    <a:pt x="43" y="17"/>
                    <a:pt x="43" y="17"/>
                  </a:cubicBezTo>
                  <a:cubicBezTo>
                    <a:pt x="16" y="44"/>
                    <a:pt x="16" y="44"/>
                    <a:pt x="16" y="44"/>
                  </a:cubicBezTo>
                  <a:cubicBezTo>
                    <a:pt x="32" y="66"/>
                    <a:pt x="32" y="66"/>
                    <a:pt x="32" y="66"/>
                  </a:cubicBezTo>
                  <a:cubicBezTo>
                    <a:pt x="30" y="70"/>
                    <a:pt x="28" y="74"/>
                    <a:pt x="27" y="79"/>
                  </a:cubicBezTo>
                  <a:cubicBezTo>
                    <a:pt x="0" y="83"/>
                    <a:pt x="0" y="83"/>
                    <a:pt x="0" y="83"/>
                  </a:cubicBezTo>
                  <a:cubicBezTo>
                    <a:pt x="0" y="121"/>
                    <a:pt x="0" y="121"/>
                    <a:pt x="0" y="121"/>
                  </a:cubicBezTo>
                  <a:cubicBezTo>
                    <a:pt x="27" y="125"/>
                    <a:pt x="27" y="125"/>
                    <a:pt x="27" y="125"/>
                  </a:cubicBezTo>
                  <a:cubicBezTo>
                    <a:pt x="28" y="130"/>
                    <a:pt x="30" y="134"/>
                    <a:pt x="32" y="139"/>
                  </a:cubicBezTo>
                  <a:cubicBezTo>
                    <a:pt x="16" y="161"/>
                    <a:pt x="16" y="161"/>
                    <a:pt x="16" y="161"/>
                  </a:cubicBezTo>
                  <a:cubicBezTo>
                    <a:pt x="43" y="187"/>
                    <a:pt x="43" y="187"/>
                    <a:pt x="43" y="187"/>
                  </a:cubicBezTo>
                  <a:cubicBezTo>
                    <a:pt x="65" y="172"/>
                    <a:pt x="65" y="172"/>
                    <a:pt x="65" y="172"/>
                  </a:cubicBezTo>
                  <a:cubicBezTo>
                    <a:pt x="69" y="174"/>
                    <a:pt x="74" y="176"/>
                    <a:pt x="78" y="177"/>
                  </a:cubicBezTo>
                  <a:cubicBezTo>
                    <a:pt x="83" y="204"/>
                    <a:pt x="83" y="204"/>
                    <a:pt x="83" y="204"/>
                  </a:cubicBezTo>
                  <a:cubicBezTo>
                    <a:pt x="120" y="204"/>
                    <a:pt x="120" y="204"/>
                    <a:pt x="120" y="204"/>
                  </a:cubicBezTo>
                  <a:cubicBezTo>
                    <a:pt x="125" y="177"/>
                    <a:pt x="125" y="177"/>
                    <a:pt x="125" y="177"/>
                  </a:cubicBezTo>
                  <a:cubicBezTo>
                    <a:pt x="130" y="176"/>
                    <a:pt x="134" y="174"/>
                    <a:pt x="138" y="172"/>
                  </a:cubicBezTo>
                  <a:cubicBezTo>
                    <a:pt x="160" y="187"/>
                    <a:pt x="160" y="187"/>
                    <a:pt x="160" y="187"/>
                  </a:cubicBezTo>
                  <a:cubicBezTo>
                    <a:pt x="187" y="161"/>
                    <a:pt x="187" y="161"/>
                    <a:pt x="187" y="161"/>
                  </a:cubicBezTo>
                  <a:cubicBezTo>
                    <a:pt x="171" y="139"/>
                    <a:pt x="171" y="139"/>
                    <a:pt x="171" y="139"/>
                  </a:cubicBezTo>
                  <a:cubicBezTo>
                    <a:pt x="173" y="134"/>
                    <a:pt x="175" y="130"/>
                    <a:pt x="177" y="125"/>
                  </a:cubicBezTo>
                  <a:lnTo>
                    <a:pt x="203" y="121"/>
                  </a:lnTo>
                  <a:close/>
                  <a:moveTo>
                    <a:pt x="102" y="136"/>
                  </a:moveTo>
                  <a:cubicBezTo>
                    <a:pt x="83" y="136"/>
                    <a:pt x="68" y="121"/>
                    <a:pt x="68" y="102"/>
                  </a:cubicBezTo>
                  <a:cubicBezTo>
                    <a:pt x="68" y="84"/>
                    <a:pt x="83" y="69"/>
                    <a:pt x="102" y="69"/>
                  </a:cubicBezTo>
                  <a:cubicBezTo>
                    <a:pt x="120" y="69"/>
                    <a:pt x="135" y="84"/>
                    <a:pt x="135" y="102"/>
                  </a:cubicBezTo>
                  <a:cubicBezTo>
                    <a:pt x="135" y="121"/>
                    <a:pt x="120" y="136"/>
                    <a:pt x="102" y="13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a:ln>
                  <a:noFill/>
                </a:ln>
                <a:solidFill>
                  <a:srgbClr val="000000"/>
                </a:solidFill>
                <a:effectLst/>
                <a:uLnTx/>
                <a:uFillTx/>
                <a:latin typeface="Arial" charset="0"/>
                <a:ea typeface="+mn-ea"/>
                <a:cs typeface="+mn-cs"/>
              </a:endParaRPr>
            </a:p>
          </p:txBody>
        </p:sp>
        <p:sp>
          <p:nvSpPr>
            <p:cNvPr id="94" name="Freeform 72">
              <a:extLst>
                <a:ext uri="{FF2B5EF4-FFF2-40B4-BE49-F238E27FC236}">
                  <a16:creationId xmlns:a16="http://schemas.microsoft.com/office/drawing/2014/main" id="{42DBA679-2334-0BCC-5CAA-FA94B85B6628}"/>
                </a:ext>
              </a:extLst>
            </p:cNvPr>
            <p:cNvSpPr>
              <a:spLocks/>
            </p:cNvSpPr>
            <p:nvPr/>
          </p:nvSpPr>
          <p:spPr bwMode="auto">
            <a:xfrm>
              <a:off x="5673258" y="1061500"/>
              <a:ext cx="251042" cy="128616"/>
            </a:xfrm>
            <a:custGeom>
              <a:avLst/>
              <a:gdLst>
                <a:gd name="T0" fmla="*/ 17837 w 19529"/>
                <a:gd name="T1" fmla="*/ 367 h 10315"/>
                <a:gd name="T2" fmla="*/ 14525 w 19529"/>
                <a:gd name="T3" fmla="*/ 3687 h 10315"/>
                <a:gd name="T4" fmla="*/ 9377 w 19529"/>
                <a:gd name="T5" fmla="*/ 3687 h 10315"/>
                <a:gd name="T6" fmla="*/ 9190 w 19529"/>
                <a:gd name="T7" fmla="*/ 3499 h 10315"/>
                <a:gd name="T8" fmla="*/ 9190 w 19529"/>
                <a:gd name="T9" fmla="*/ 3311 h 10315"/>
                <a:gd name="T10" fmla="*/ 9377 w 19529"/>
                <a:gd name="T11" fmla="*/ 3123 h 10315"/>
                <a:gd name="T12" fmla="*/ 12406 w 19529"/>
                <a:gd name="T13" fmla="*/ 3123 h 10315"/>
                <a:gd name="T14" fmla="*/ 13344 w 19529"/>
                <a:gd name="T15" fmla="*/ 2183 h 10315"/>
                <a:gd name="T16" fmla="*/ 12406 w 19529"/>
                <a:gd name="T17" fmla="*/ 1243 h 10315"/>
                <a:gd name="T18" fmla="*/ 5021 w 19529"/>
                <a:gd name="T19" fmla="*/ 1243 h 10315"/>
                <a:gd name="T20" fmla="*/ 4358 w 19529"/>
                <a:gd name="T21" fmla="*/ 1518 h 10315"/>
                <a:gd name="T22" fmla="*/ 280 w 19529"/>
                <a:gd name="T23" fmla="*/ 5608 h 10315"/>
                <a:gd name="T24" fmla="*/ 5 w 19529"/>
                <a:gd name="T25" fmla="*/ 6291 h 10315"/>
                <a:gd name="T26" fmla="*/ 7 w 19529"/>
                <a:gd name="T27" fmla="*/ 9424 h 10315"/>
                <a:gd name="T28" fmla="*/ 279 w 19529"/>
                <a:gd name="T29" fmla="*/ 10040 h 10315"/>
                <a:gd name="T30" fmla="*/ 942 w 19529"/>
                <a:gd name="T31" fmla="*/ 10315 h 10315"/>
                <a:gd name="T32" fmla="*/ 1606 w 19529"/>
                <a:gd name="T33" fmla="*/ 10040 h 10315"/>
                <a:gd name="T34" fmla="*/ 5410 w 19529"/>
                <a:gd name="T35" fmla="*/ 6226 h 10315"/>
                <a:gd name="T36" fmla="*/ 14257 w 19529"/>
                <a:gd name="T37" fmla="*/ 6226 h 10315"/>
                <a:gd name="T38" fmla="*/ 14920 w 19529"/>
                <a:gd name="T39" fmla="*/ 5951 h 10315"/>
                <a:gd name="T40" fmla="*/ 19163 w 19529"/>
                <a:gd name="T41" fmla="*/ 1697 h 10315"/>
                <a:gd name="T42" fmla="*/ 19163 w 19529"/>
                <a:gd name="T43" fmla="*/ 367 h 10315"/>
                <a:gd name="T44" fmla="*/ 17837 w 19529"/>
                <a:gd name="T45" fmla="*/ 367 h 10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529" h="10315">
                  <a:moveTo>
                    <a:pt x="17837" y="367"/>
                  </a:moveTo>
                  <a:lnTo>
                    <a:pt x="14525" y="3687"/>
                  </a:lnTo>
                  <a:lnTo>
                    <a:pt x="9377" y="3687"/>
                  </a:lnTo>
                  <a:cubicBezTo>
                    <a:pt x="9274" y="3687"/>
                    <a:pt x="9190" y="3603"/>
                    <a:pt x="9190" y="3499"/>
                  </a:cubicBezTo>
                  <a:lnTo>
                    <a:pt x="9190" y="3311"/>
                  </a:lnTo>
                  <a:cubicBezTo>
                    <a:pt x="9190" y="3207"/>
                    <a:pt x="9274" y="3123"/>
                    <a:pt x="9377" y="3123"/>
                  </a:cubicBezTo>
                  <a:lnTo>
                    <a:pt x="12406" y="3123"/>
                  </a:lnTo>
                  <a:cubicBezTo>
                    <a:pt x="12924" y="3123"/>
                    <a:pt x="13344" y="2702"/>
                    <a:pt x="13344" y="2183"/>
                  </a:cubicBezTo>
                  <a:cubicBezTo>
                    <a:pt x="13344" y="1664"/>
                    <a:pt x="12924" y="1243"/>
                    <a:pt x="12406" y="1243"/>
                  </a:cubicBezTo>
                  <a:lnTo>
                    <a:pt x="5021" y="1243"/>
                  </a:lnTo>
                  <a:cubicBezTo>
                    <a:pt x="4773" y="1243"/>
                    <a:pt x="4534" y="1342"/>
                    <a:pt x="4358" y="1518"/>
                  </a:cubicBezTo>
                  <a:lnTo>
                    <a:pt x="280" y="5608"/>
                  </a:lnTo>
                  <a:cubicBezTo>
                    <a:pt x="92" y="5796"/>
                    <a:pt x="0" y="6045"/>
                    <a:pt x="5" y="6291"/>
                  </a:cubicBezTo>
                  <a:cubicBezTo>
                    <a:pt x="9" y="6463"/>
                    <a:pt x="1" y="9296"/>
                    <a:pt x="7" y="9424"/>
                  </a:cubicBezTo>
                  <a:cubicBezTo>
                    <a:pt x="18" y="9648"/>
                    <a:pt x="109" y="9869"/>
                    <a:pt x="279" y="10040"/>
                  </a:cubicBezTo>
                  <a:cubicBezTo>
                    <a:pt x="462" y="10223"/>
                    <a:pt x="702" y="10315"/>
                    <a:pt x="942" y="10315"/>
                  </a:cubicBezTo>
                  <a:cubicBezTo>
                    <a:pt x="1182" y="10315"/>
                    <a:pt x="1422" y="10223"/>
                    <a:pt x="1606" y="10040"/>
                  </a:cubicBezTo>
                  <a:lnTo>
                    <a:pt x="5410" y="6226"/>
                  </a:lnTo>
                  <a:lnTo>
                    <a:pt x="14257" y="6226"/>
                  </a:lnTo>
                  <a:cubicBezTo>
                    <a:pt x="14506" y="6226"/>
                    <a:pt x="14744" y="6127"/>
                    <a:pt x="14920" y="5951"/>
                  </a:cubicBezTo>
                  <a:lnTo>
                    <a:pt x="19163" y="1697"/>
                  </a:lnTo>
                  <a:cubicBezTo>
                    <a:pt x="19529" y="1329"/>
                    <a:pt x="19529" y="734"/>
                    <a:pt x="19163" y="367"/>
                  </a:cubicBezTo>
                  <a:cubicBezTo>
                    <a:pt x="18797" y="0"/>
                    <a:pt x="18203" y="0"/>
                    <a:pt x="17837" y="367"/>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charset="0"/>
                <a:ea typeface="+mn-ea"/>
                <a:cs typeface="+mn-cs"/>
              </a:endParaRPr>
            </a:p>
          </p:txBody>
        </p:sp>
      </p:grpSp>
      <p:sp>
        <p:nvSpPr>
          <p:cNvPr id="72" name="Title 1">
            <a:extLst>
              <a:ext uri="{FF2B5EF4-FFF2-40B4-BE49-F238E27FC236}">
                <a16:creationId xmlns:a16="http://schemas.microsoft.com/office/drawing/2014/main" id="{9A0F1650-20A1-E9BB-7B2D-279B629F7BA4}"/>
              </a:ext>
            </a:extLst>
          </p:cNvPr>
          <p:cNvSpPr>
            <a:spLocks noGrp="1"/>
          </p:cNvSpPr>
          <p:nvPr>
            <p:ph type="title"/>
          </p:nvPr>
        </p:nvSpPr>
        <p:spPr bwMode="gray">
          <a:xfrm>
            <a:off x="0" y="0"/>
            <a:ext cx="12191979" cy="1292630"/>
          </a:xfrm>
          <a:prstGeom prst="rect">
            <a:avLst/>
          </a:prstGeom>
          <a:solidFill>
            <a:srgbClr val="002576"/>
          </a:solidFill>
          <a:ln>
            <a:noFill/>
          </a:ln>
          <a:effectLst/>
        </p:spPr>
        <p:txBody>
          <a:bodyPr vert="horz" wrap="square" lIns="91440" tIns="45720" rIns="91440" bIns="45720" numCol="1" rtlCol="0" anchor="ctr" anchorCtr="0" compatLnSpc="1">
            <a:prstTxWarp prst="textNoShape">
              <a:avLst/>
            </a:prstTxWarp>
            <a:noAutofit/>
          </a:bodyPr>
          <a:lstStyle/>
          <a:p>
            <a:pPr algn="ctr" defTabSz="457200">
              <a:spcAft>
                <a:spcPts val="0"/>
              </a:spcAft>
              <a:tabLst/>
            </a:pPr>
            <a:r>
              <a:rPr lang="en-US" sz="2800" dirty="0">
                <a:solidFill>
                  <a:schemeClr val="bg1"/>
                </a:solidFill>
                <a:latin typeface="Arial Black"/>
              </a:rPr>
              <a:t>MEDC Real Estate Development Tools</a:t>
            </a:r>
            <a:endParaRPr lang="en-US" sz="2800" dirty="0">
              <a:solidFill>
                <a:schemeClr val="bg1"/>
              </a:solidFill>
            </a:endParaRPr>
          </a:p>
        </p:txBody>
      </p:sp>
      <p:sp>
        <p:nvSpPr>
          <p:cNvPr id="4" name="Rectangle 3" hidden="1">
            <a:extLst>
              <a:ext uri="{FF2B5EF4-FFF2-40B4-BE49-F238E27FC236}">
                <a16:creationId xmlns:a16="http://schemas.microsoft.com/office/drawing/2014/main" id="{95BC4173-3FAA-8CC3-4549-C6274D8E57A6}"/>
              </a:ext>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9" name="Rectangle 8">
            <a:extLst>
              <a:ext uri="{FF2B5EF4-FFF2-40B4-BE49-F238E27FC236}">
                <a16:creationId xmlns:a16="http://schemas.microsoft.com/office/drawing/2014/main" id="{E296020B-F909-A1D6-6B01-EC0C9F423445}"/>
              </a:ext>
            </a:extLst>
          </p:cNvPr>
          <p:cNvSpPr/>
          <p:nvPr/>
        </p:nvSpPr>
        <p:spPr>
          <a:xfrm>
            <a:off x="10883" y="1291012"/>
            <a:ext cx="12192000" cy="87733"/>
          </a:xfrm>
          <a:prstGeom prst="rect">
            <a:avLst/>
          </a:prstGeom>
          <a:solidFill>
            <a:srgbClr val="9CCF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extBox 1">
            <a:extLst>
              <a:ext uri="{FF2B5EF4-FFF2-40B4-BE49-F238E27FC236}">
                <a16:creationId xmlns:a16="http://schemas.microsoft.com/office/drawing/2014/main" id="{71B457C0-70DA-75F8-B66D-BEAA4C6526BA}"/>
              </a:ext>
            </a:extLst>
          </p:cNvPr>
          <p:cNvSpPr txBox="1"/>
          <p:nvPr/>
        </p:nvSpPr>
        <p:spPr>
          <a:xfrm>
            <a:off x="4049486" y="2038989"/>
            <a:ext cx="7664176" cy="4401205"/>
          </a:xfrm>
          <a:prstGeom prst="rect">
            <a:avLst/>
          </a:prstGeom>
          <a:noFill/>
        </p:spPr>
        <p:txBody>
          <a:bodyPr wrap="square" rtlCol="0">
            <a:spAutoFit/>
          </a:bodyPr>
          <a:lstStyle/>
          <a:p>
            <a:pPr marL="457200" indent="-457200">
              <a:buFont typeface="Arial" panose="020B0604020202020204" pitchFamily="34" charset="0"/>
              <a:buChar char="•"/>
            </a:pPr>
            <a:r>
              <a:rPr lang="en-US" sz="2800" dirty="0"/>
              <a:t>Loans are typically issued from the Michigan Community Revitalization Program (MCRP)</a:t>
            </a:r>
          </a:p>
          <a:p>
            <a:pPr marL="457200" indent="-457200">
              <a:buFont typeface="Arial" panose="020B0604020202020204" pitchFamily="34" charset="0"/>
              <a:buChar char="•"/>
            </a:pPr>
            <a:endParaRPr lang="en-US" sz="2800" dirty="0"/>
          </a:p>
          <a:p>
            <a:pPr marL="457200" indent="-457200">
              <a:buFont typeface="Arial" panose="020B0604020202020204" pitchFamily="34" charset="0"/>
              <a:buChar char="•"/>
            </a:pPr>
            <a:r>
              <a:rPr lang="en-US" sz="2800" dirty="0"/>
              <a:t>Loans are subordinated to a senior lender</a:t>
            </a:r>
          </a:p>
          <a:p>
            <a:pPr marL="457200" indent="-457200">
              <a:buFont typeface="Arial" panose="020B0604020202020204" pitchFamily="34" charset="0"/>
              <a:buChar char="•"/>
            </a:pPr>
            <a:endParaRPr lang="en-US" sz="2800" dirty="0"/>
          </a:p>
          <a:p>
            <a:pPr marL="457200" indent="-457200">
              <a:buFont typeface="Arial" panose="020B0604020202020204" pitchFamily="34" charset="0"/>
              <a:buChar char="•"/>
            </a:pPr>
            <a:r>
              <a:rPr lang="en-US" sz="2800" dirty="0"/>
              <a:t>Loans are issued at 1% interest</a:t>
            </a:r>
          </a:p>
          <a:p>
            <a:pPr marL="457200" indent="-457200">
              <a:buFont typeface="Arial" panose="020B0604020202020204" pitchFamily="34" charset="0"/>
              <a:buChar char="•"/>
            </a:pPr>
            <a:endParaRPr lang="en-US" sz="2800" dirty="0"/>
          </a:p>
          <a:p>
            <a:pPr marL="457200" indent="-457200">
              <a:buFont typeface="Arial" panose="020B0604020202020204" pitchFamily="34" charset="0"/>
              <a:buChar char="•"/>
            </a:pPr>
            <a:r>
              <a:rPr lang="en-US" sz="2800" dirty="0"/>
              <a:t>In Buchanan, maximum loan amounts are $10m or 50% of eligible project costs – whichever is less</a:t>
            </a:r>
          </a:p>
        </p:txBody>
      </p:sp>
      <p:grpSp>
        <p:nvGrpSpPr>
          <p:cNvPr id="10" name="Group 9">
            <a:extLst>
              <a:ext uri="{FF2B5EF4-FFF2-40B4-BE49-F238E27FC236}">
                <a16:creationId xmlns:a16="http://schemas.microsoft.com/office/drawing/2014/main" id="{D6A1D717-7EE6-EAC1-D0DC-DACFCE61E92F}"/>
              </a:ext>
            </a:extLst>
          </p:cNvPr>
          <p:cNvGrpSpPr/>
          <p:nvPr/>
        </p:nvGrpSpPr>
        <p:grpSpPr>
          <a:xfrm>
            <a:off x="1017903" y="1866620"/>
            <a:ext cx="2755160" cy="4377484"/>
            <a:chOff x="4774677" y="1655328"/>
            <a:chExt cx="2234341" cy="4377484"/>
          </a:xfrm>
        </p:grpSpPr>
        <p:sp>
          <p:nvSpPr>
            <p:cNvPr id="11" name="Arrow: Pentagon 10">
              <a:extLst>
                <a:ext uri="{FF2B5EF4-FFF2-40B4-BE49-F238E27FC236}">
                  <a16:creationId xmlns:a16="http://schemas.microsoft.com/office/drawing/2014/main" id="{360850A4-FAEE-F50B-DFDD-42218A58D8E7}"/>
                </a:ext>
              </a:extLst>
            </p:cNvPr>
            <p:cNvSpPr/>
            <p:nvPr/>
          </p:nvSpPr>
          <p:spPr>
            <a:xfrm rot="5400000">
              <a:off x="3703106" y="2726899"/>
              <a:ext cx="4377484" cy="2234341"/>
            </a:xfrm>
            <a:prstGeom prst="homePlate">
              <a:avLst>
                <a:gd name="adj" fmla="val 18937"/>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640080" tIns="182880" bIns="182880" rtlCol="0" anchor="t"/>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br>
                <a:rPr kumimoji="0" lang="en-US" sz="3200" b="1" i="0" u="none" strike="noStrike" kern="1200" cap="none" spc="0" normalizeH="0" baseline="0" noProof="0" dirty="0">
                  <a:ln>
                    <a:noFill/>
                  </a:ln>
                  <a:solidFill>
                    <a:srgbClr val="FFFFFF"/>
                  </a:solidFill>
                  <a:effectLst/>
                  <a:uLnTx/>
                  <a:uFillTx/>
                  <a:latin typeface="Arial"/>
                  <a:ea typeface="+mn-ea"/>
                  <a:cs typeface="+mn-cs"/>
                </a:rPr>
              </a:br>
              <a:endParaRPr kumimoji="0" lang="en-US" sz="3200" b="1" i="0" u="none" strike="noStrike" kern="1200" cap="none" spc="0" normalizeH="0" baseline="0" noProof="0" dirty="0">
                <a:ln>
                  <a:noFill/>
                </a:ln>
                <a:solidFill>
                  <a:srgbClr val="FFFFFF"/>
                </a:solidFill>
                <a:effectLst/>
                <a:uLnTx/>
                <a:uFillTx/>
                <a:latin typeface="Arial"/>
                <a:ea typeface="+mn-ea"/>
                <a:cs typeface="+mn-cs"/>
              </a:endParaRPr>
            </a:p>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r>
                <a:rPr kumimoji="0" lang="en-US" sz="3200" b="1" i="0" u="none" strike="noStrike" kern="1200" cap="none" spc="0" normalizeH="0" baseline="0" noProof="0" dirty="0">
                  <a:ln>
                    <a:noFill/>
                  </a:ln>
                  <a:solidFill>
                    <a:srgbClr val="FFFFFF"/>
                  </a:solidFill>
                  <a:effectLst/>
                  <a:uLnTx/>
                  <a:uFillTx/>
                  <a:ea typeface="+mn-ea"/>
                  <a:cs typeface="+mn-cs"/>
                </a:rPr>
                <a:t>Loans</a:t>
              </a:r>
            </a:p>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endParaRPr lang="en-US" sz="3200" b="1" dirty="0">
                <a:solidFill>
                  <a:srgbClr val="FFFFFF"/>
                </a:solidFill>
                <a:latin typeface="Arial"/>
              </a:endParaRPr>
            </a:p>
          </p:txBody>
        </p:sp>
        <p:pic>
          <p:nvPicPr>
            <p:cNvPr id="12" name="Picture 20" descr="Marker with solid fill">
              <a:extLst>
                <a:ext uri="{FF2B5EF4-FFF2-40B4-BE49-F238E27FC236}">
                  <a16:creationId xmlns:a16="http://schemas.microsoft.com/office/drawing/2014/main" id="{318331ED-750B-007B-AAC6-A4E59CD9B3E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5553307" y="1827697"/>
              <a:ext cx="746196" cy="746196"/>
            </a:xfrm>
            <a:prstGeom prst="rect">
              <a:avLst/>
            </a:prstGeom>
          </p:spPr>
        </p:pic>
      </p:grpSp>
    </p:spTree>
    <p:extLst>
      <p:ext uri="{BB962C8B-B14F-4D97-AF65-F5344CB8AC3E}">
        <p14:creationId xmlns:p14="http://schemas.microsoft.com/office/powerpoint/2010/main" val="68322103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6E9646F-A842-DD34-C376-C4BCAE8E65D6}"/>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E811000-A1CF-EBD9-72A5-132FE4D619FC}"/>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6E811000-A1CF-EBD9-72A5-132FE4D619FC}"/>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A64DBD8B-A2C5-FEB6-78A7-7B55564219D2}"/>
              </a:ext>
            </a:extLst>
          </p:cNvPr>
          <p:cNvGrpSpPr/>
          <p:nvPr/>
        </p:nvGrpSpPr>
        <p:grpSpPr>
          <a:xfrm>
            <a:off x="11660635" y="1104552"/>
            <a:ext cx="144734" cy="128417"/>
            <a:chOff x="11633817" y="1102402"/>
            <a:chExt cx="231147" cy="205087"/>
          </a:xfrm>
        </p:grpSpPr>
        <p:sp>
          <p:nvSpPr>
            <p:cNvPr id="151" name="Freeform 19">
              <a:extLst>
                <a:ext uri="{FF2B5EF4-FFF2-40B4-BE49-F238E27FC236}">
                  <a16:creationId xmlns:a16="http://schemas.microsoft.com/office/drawing/2014/main" id="{D847AF79-17CF-8181-07EB-11783DFA9F23}"/>
                </a:ext>
              </a:extLst>
            </p:cNvPr>
            <p:cNvSpPr>
              <a:spLocks/>
            </p:cNvSpPr>
            <p:nvPr/>
          </p:nvSpPr>
          <p:spPr bwMode="auto">
            <a:xfrm>
              <a:off x="11676657" y="1169876"/>
              <a:ext cx="83691" cy="29778"/>
            </a:xfrm>
            <a:custGeom>
              <a:avLst/>
              <a:gdLst>
                <a:gd name="T0" fmla="*/ 107 w 206"/>
                <a:gd name="T1" fmla="*/ 77 h 77"/>
                <a:gd name="T2" fmla="*/ 107 w 206"/>
                <a:gd name="T3" fmla="*/ 77 h 77"/>
                <a:gd name="T4" fmla="*/ 106 w 206"/>
                <a:gd name="T5" fmla="*/ 77 h 77"/>
                <a:gd name="T6" fmla="*/ 5 w 206"/>
                <a:gd name="T7" fmla="*/ 26 h 77"/>
                <a:gd name="T8" fmla="*/ 8 w 206"/>
                <a:gd name="T9" fmla="*/ 5 h 77"/>
                <a:gd name="T10" fmla="*/ 29 w 206"/>
                <a:gd name="T11" fmla="*/ 8 h 77"/>
                <a:gd name="T12" fmla="*/ 107 w 206"/>
                <a:gd name="T13" fmla="*/ 46 h 77"/>
                <a:gd name="T14" fmla="*/ 177 w 206"/>
                <a:gd name="T15" fmla="*/ 7 h 77"/>
                <a:gd name="T16" fmla="*/ 199 w 206"/>
                <a:gd name="T17" fmla="*/ 5 h 77"/>
                <a:gd name="T18" fmla="*/ 201 w 206"/>
                <a:gd name="T19" fmla="*/ 26 h 77"/>
                <a:gd name="T20" fmla="*/ 107 w 206"/>
                <a:gd name="T21"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6" h="77">
                  <a:moveTo>
                    <a:pt x="107" y="77"/>
                  </a:moveTo>
                  <a:cubicBezTo>
                    <a:pt x="107" y="77"/>
                    <a:pt x="107" y="77"/>
                    <a:pt x="107" y="77"/>
                  </a:cubicBezTo>
                  <a:cubicBezTo>
                    <a:pt x="106" y="77"/>
                    <a:pt x="106" y="77"/>
                    <a:pt x="106" y="77"/>
                  </a:cubicBezTo>
                  <a:cubicBezTo>
                    <a:pt x="52" y="74"/>
                    <a:pt x="13" y="36"/>
                    <a:pt x="5" y="26"/>
                  </a:cubicBezTo>
                  <a:cubicBezTo>
                    <a:pt x="0" y="19"/>
                    <a:pt x="1" y="10"/>
                    <a:pt x="8" y="5"/>
                  </a:cubicBezTo>
                  <a:cubicBezTo>
                    <a:pt x="15" y="0"/>
                    <a:pt x="24" y="1"/>
                    <a:pt x="29" y="8"/>
                  </a:cubicBezTo>
                  <a:cubicBezTo>
                    <a:pt x="34" y="14"/>
                    <a:pt x="66" y="44"/>
                    <a:pt x="107" y="46"/>
                  </a:cubicBezTo>
                  <a:cubicBezTo>
                    <a:pt x="145" y="46"/>
                    <a:pt x="177" y="8"/>
                    <a:pt x="177" y="7"/>
                  </a:cubicBezTo>
                  <a:cubicBezTo>
                    <a:pt x="182" y="1"/>
                    <a:pt x="192" y="0"/>
                    <a:pt x="199" y="5"/>
                  </a:cubicBezTo>
                  <a:cubicBezTo>
                    <a:pt x="205" y="10"/>
                    <a:pt x="206" y="20"/>
                    <a:pt x="201" y="26"/>
                  </a:cubicBezTo>
                  <a:cubicBezTo>
                    <a:pt x="199" y="28"/>
                    <a:pt x="160" y="77"/>
                    <a:pt x="107" y="7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a:ln>
                  <a:noFill/>
                </a:ln>
                <a:solidFill>
                  <a:srgbClr val="000000"/>
                </a:solidFill>
                <a:effectLst/>
                <a:uLnTx/>
                <a:uFillTx/>
                <a:latin typeface="Arial" charset="0"/>
                <a:ea typeface="+mn-ea"/>
                <a:cs typeface="+mn-cs"/>
              </a:endParaRPr>
            </a:p>
          </p:txBody>
        </p:sp>
        <p:sp>
          <p:nvSpPr>
            <p:cNvPr id="152" name="Freeform 20">
              <a:extLst>
                <a:ext uri="{FF2B5EF4-FFF2-40B4-BE49-F238E27FC236}">
                  <a16:creationId xmlns:a16="http://schemas.microsoft.com/office/drawing/2014/main" id="{712F1DD6-9BCC-76CD-1EBC-383B2CD34206}"/>
                </a:ext>
              </a:extLst>
            </p:cNvPr>
            <p:cNvSpPr>
              <a:spLocks noEditPoints="1"/>
            </p:cNvSpPr>
            <p:nvPr/>
          </p:nvSpPr>
          <p:spPr bwMode="auto">
            <a:xfrm>
              <a:off x="11633817" y="1102402"/>
              <a:ext cx="231147" cy="205087"/>
            </a:xfrm>
            <a:custGeom>
              <a:avLst/>
              <a:gdLst>
                <a:gd name="T0" fmla="*/ 550 w 570"/>
                <a:gd name="T1" fmla="*/ 406 h 524"/>
                <a:gd name="T2" fmla="*/ 397 w 570"/>
                <a:gd name="T3" fmla="*/ 305 h 524"/>
                <a:gd name="T4" fmla="*/ 395 w 570"/>
                <a:gd name="T5" fmla="*/ 304 h 524"/>
                <a:gd name="T6" fmla="*/ 418 w 570"/>
                <a:gd name="T7" fmla="*/ 209 h 524"/>
                <a:gd name="T8" fmla="*/ 209 w 570"/>
                <a:gd name="T9" fmla="*/ 0 h 524"/>
                <a:gd name="T10" fmla="*/ 0 w 570"/>
                <a:gd name="T11" fmla="*/ 209 h 524"/>
                <a:gd name="T12" fmla="*/ 209 w 570"/>
                <a:gd name="T13" fmla="*/ 418 h 524"/>
                <a:gd name="T14" fmla="*/ 336 w 570"/>
                <a:gd name="T15" fmla="*/ 375 h 524"/>
                <a:gd name="T16" fmla="*/ 337 w 570"/>
                <a:gd name="T17" fmla="*/ 376 h 524"/>
                <a:gd name="T18" fmla="*/ 464 w 570"/>
                <a:gd name="T19" fmla="*/ 510 h 524"/>
                <a:gd name="T20" fmla="*/ 520 w 570"/>
                <a:gd name="T21" fmla="*/ 505 h 524"/>
                <a:gd name="T22" fmla="*/ 556 w 570"/>
                <a:gd name="T23" fmla="*/ 462 h 524"/>
                <a:gd name="T24" fmla="*/ 550 w 570"/>
                <a:gd name="T25" fmla="*/ 406 h 524"/>
                <a:gd name="T26" fmla="*/ 209 w 570"/>
                <a:gd name="T27" fmla="*/ 364 h 524"/>
                <a:gd name="T28" fmla="*/ 54 w 570"/>
                <a:gd name="T29" fmla="*/ 209 h 524"/>
                <a:gd name="T30" fmla="*/ 209 w 570"/>
                <a:gd name="T31" fmla="*/ 54 h 524"/>
                <a:gd name="T32" fmla="*/ 364 w 570"/>
                <a:gd name="T33" fmla="*/ 209 h 524"/>
                <a:gd name="T34" fmla="*/ 209 w 570"/>
                <a:gd name="T35" fmla="*/ 36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0" h="524">
                  <a:moveTo>
                    <a:pt x="550" y="406"/>
                  </a:moveTo>
                  <a:cubicBezTo>
                    <a:pt x="397" y="305"/>
                    <a:pt x="397" y="305"/>
                    <a:pt x="397" y="305"/>
                  </a:cubicBezTo>
                  <a:cubicBezTo>
                    <a:pt x="396" y="305"/>
                    <a:pt x="396" y="304"/>
                    <a:pt x="395" y="304"/>
                  </a:cubicBezTo>
                  <a:cubicBezTo>
                    <a:pt x="410" y="276"/>
                    <a:pt x="418" y="243"/>
                    <a:pt x="418" y="209"/>
                  </a:cubicBezTo>
                  <a:cubicBezTo>
                    <a:pt x="418" y="94"/>
                    <a:pt x="324" y="0"/>
                    <a:pt x="209" y="0"/>
                  </a:cubicBezTo>
                  <a:cubicBezTo>
                    <a:pt x="94" y="0"/>
                    <a:pt x="0" y="94"/>
                    <a:pt x="0" y="209"/>
                  </a:cubicBezTo>
                  <a:cubicBezTo>
                    <a:pt x="0" y="324"/>
                    <a:pt x="94" y="418"/>
                    <a:pt x="209" y="418"/>
                  </a:cubicBezTo>
                  <a:cubicBezTo>
                    <a:pt x="257" y="418"/>
                    <a:pt x="301" y="402"/>
                    <a:pt x="336" y="375"/>
                  </a:cubicBezTo>
                  <a:cubicBezTo>
                    <a:pt x="336" y="375"/>
                    <a:pt x="337" y="376"/>
                    <a:pt x="337" y="376"/>
                  </a:cubicBezTo>
                  <a:cubicBezTo>
                    <a:pt x="464" y="510"/>
                    <a:pt x="464" y="510"/>
                    <a:pt x="464" y="510"/>
                  </a:cubicBezTo>
                  <a:cubicBezTo>
                    <a:pt x="481" y="524"/>
                    <a:pt x="506" y="522"/>
                    <a:pt x="520" y="505"/>
                  </a:cubicBezTo>
                  <a:cubicBezTo>
                    <a:pt x="556" y="462"/>
                    <a:pt x="556" y="462"/>
                    <a:pt x="556" y="462"/>
                  </a:cubicBezTo>
                  <a:cubicBezTo>
                    <a:pt x="570" y="445"/>
                    <a:pt x="567" y="420"/>
                    <a:pt x="550" y="406"/>
                  </a:cubicBezTo>
                  <a:close/>
                  <a:moveTo>
                    <a:pt x="209" y="364"/>
                  </a:moveTo>
                  <a:cubicBezTo>
                    <a:pt x="123" y="364"/>
                    <a:pt x="54" y="295"/>
                    <a:pt x="54" y="209"/>
                  </a:cubicBezTo>
                  <a:cubicBezTo>
                    <a:pt x="54" y="124"/>
                    <a:pt x="123" y="54"/>
                    <a:pt x="209" y="54"/>
                  </a:cubicBezTo>
                  <a:cubicBezTo>
                    <a:pt x="295" y="54"/>
                    <a:pt x="364" y="124"/>
                    <a:pt x="364" y="209"/>
                  </a:cubicBezTo>
                  <a:cubicBezTo>
                    <a:pt x="364" y="295"/>
                    <a:pt x="295" y="364"/>
                    <a:pt x="209" y="36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a:ln>
                  <a:noFill/>
                </a:ln>
                <a:solidFill>
                  <a:srgbClr val="000000"/>
                </a:solidFill>
                <a:effectLst/>
                <a:uLnTx/>
                <a:uFillTx/>
                <a:latin typeface="Arial" charset="0"/>
                <a:ea typeface="+mn-ea"/>
                <a:cs typeface="+mn-cs"/>
              </a:endParaRPr>
            </a:p>
          </p:txBody>
        </p:sp>
      </p:grpSp>
      <p:grpSp>
        <p:nvGrpSpPr>
          <p:cNvPr id="226" name="Group 225">
            <a:extLst>
              <a:ext uri="{FF2B5EF4-FFF2-40B4-BE49-F238E27FC236}">
                <a16:creationId xmlns:a16="http://schemas.microsoft.com/office/drawing/2014/main" id="{95B6EFBB-D107-27A1-8C35-FEBFFE9FF639}"/>
              </a:ext>
            </a:extLst>
          </p:cNvPr>
          <p:cNvGrpSpPr/>
          <p:nvPr/>
        </p:nvGrpSpPr>
        <p:grpSpPr>
          <a:xfrm>
            <a:off x="5713706" y="1094902"/>
            <a:ext cx="170146" cy="178230"/>
            <a:chOff x="5673258" y="927146"/>
            <a:chExt cx="251042" cy="262970"/>
          </a:xfrm>
        </p:grpSpPr>
        <p:sp>
          <p:nvSpPr>
            <p:cNvPr id="200" name="Freeform 14">
              <a:extLst>
                <a:ext uri="{FF2B5EF4-FFF2-40B4-BE49-F238E27FC236}">
                  <a16:creationId xmlns:a16="http://schemas.microsoft.com/office/drawing/2014/main" id="{4168E1C4-6D34-F92C-2A5A-E7AAD78A9B2A}"/>
                </a:ext>
              </a:extLst>
            </p:cNvPr>
            <p:cNvSpPr>
              <a:spLocks noEditPoints="1"/>
            </p:cNvSpPr>
            <p:nvPr/>
          </p:nvSpPr>
          <p:spPr bwMode="auto">
            <a:xfrm>
              <a:off x="5785978" y="927146"/>
              <a:ext cx="128800" cy="125036"/>
            </a:xfrm>
            <a:custGeom>
              <a:avLst/>
              <a:gdLst>
                <a:gd name="T0" fmla="*/ 203 w 203"/>
                <a:gd name="T1" fmla="*/ 121 h 204"/>
                <a:gd name="T2" fmla="*/ 203 w 203"/>
                <a:gd name="T3" fmla="*/ 83 h 204"/>
                <a:gd name="T4" fmla="*/ 177 w 203"/>
                <a:gd name="T5" fmla="*/ 79 h 204"/>
                <a:gd name="T6" fmla="*/ 171 w 203"/>
                <a:gd name="T7" fmla="*/ 66 h 204"/>
                <a:gd name="T8" fmla="*/ 187 w 203"/>
                <a:gd name="T9" fmla="*/ 44 h 204"/>
                <a:gd name="T10" fmla="*/ 160 w 203"/>
                <a:gd name="T11" fmla="*/ 17 h 204"/>
                <a:gd name="T12" fmla="*/ 138 w 203"/>
                <a:gd name="T13" fmla="*/ 32 h 204"/>
                <a:gd name="T14" fmla="*/ 125 w 203"/>
                <a:gd name="T15" fmla="*/ 27 h 204"/>
                <a:gd name="T16" fmla="*/ 120 w 203"/>
                <a:gd name="T17" fmla="*/ 0 h 204"/>
                <a:gd name="T18" fmla="*/ 83 w 203"/>
                <a:gd name="T19" fmla="*/ 0 h 204"/>
                <a:gd name="T20" fmla="*/ 78 w 203"/>
                <a:gd name="T21" fmla="*/ 27 h 204"/>
                <a:gd name="T22" fmla="*/ 65 w 203"/>
                <a:gd name="T23" fmla="*/ 32 h 204"/>
                <a:gd name="T24" fmla="*/ 43 w 203"/>
                <a:gd name="T25" fmla="*/ 17 h 204"/>
                <a:gd name="T26" fmla="*/ 16 w 203"/>
                <a:gd name="T27" fmla="*/ 44 h 204"/>
                <a:gd name="T28" fmla="*/ 32 w 203"/>
                <a:gd name="T29" fmla="*/ 66 h 204"/>
                <a:gd name="T30" fmla="*/ 27 w 203"/>
                <a:gd name="T31" fmla="*/ 79 h 204"/>
                <a:gd name="T32" fmla="*/ 0 w 203"/>
                <a:gd name="T33" fmla="*/ 83 h 204"/>
                <a:gd name="T34" fmla="*/ 0 w 203"/>
                <a:gd name="T35" fmla="*/ 121 h 204"/>
                <a:gd name="T36" fmla="*/ 27 w 203"/>
                <a:gd name="T37" fmla="*/ 125 h 204"/>
                <a:gd name="T38" fmla="*/ 32 w 203"/>
                <a:gd name="T39" fmla="*/ 139 h 204"/>
                <a:gd name="T40" fmla="*/ 16 w 203"/>
                <a:gd name="T41" fmla="*/ 161 h 204"/>
                <a:gd name="T42" fmla="*/ 43 w 203"/>
                <a:gd name="T43" fmla="*/ 187 h 204"/>
                <a:gd name="T44" fmla="*/ 65 w 203"/>
                <a:gd name="T45" fmla="*/ 172 h 204"/>
                <a:gd name="T46" fmla="*/ 78 w 203"/>
                <a:gd name="T47" fmla="*/ 177 h 204"/>
                <a:gd name="T48" fmla="*/ 83 w 203"/>
                <a:gd name="T49" fmla="*/ 204 h 204"/>
                <a:gd name="T50" fmla="*/ 120 w 203"/>
                <a:gd name="T51" fmla="*/ 204 h 204"/>
                <a:gd name="T52" fmla="*/ 125 w 203"/>
                <a:gd name="T53" fmla="*/ 177 h 204"/>
                <a:gd name="T54" fmla="*/ 138 w 203"/>
                <a:gd name="T55" fmla="*/ 172 h 204"/>
                <a:gd name="T56" fmla="*/ 160 w 203"/>
                <a:gd name="T57" fmla="*/ 187 h 204"/>
                <a:gd name="T58" fmla="*/ 187 w 203"/>
                <a:gd name="T59" fmla="*/ 161 h 204"/>
                <a:gd name="T60" fmla="*/ 171 w 203"/>
                <a:gd name="T61" fmla="*/ 139 h 204"/>
                <a:gd name="T62" fmla="*/ 177 w 203"/>
                <a:gd name="T63" fmla="*/ 125 h 204"/>
                <a:gd name="T64" fmla="*/ 203 w 203"/>
                <a:gd name="T65" fmla="*/ 121 h 204"/>
                <a:gd name="T66" fmla="*/ 102 w 203"/>
                <a:gd name="T67" fmla="*/ 136 h 204"/>
                <a:gd name="T68" fmla="*/ 68 w 203"/>
                <a:gd name="T69" fmla="*/ 102 h 204"/>
                <a:gd name="T70" fmla="*/ 102 w 203"/>
                <a:gd name="T71" fmla="*/ 69 h 204"/>
                <a:gd name="T72" fmla="*/ 135 w 203"/>
                <a:gd name="T73" fmla="*/ 102 h 204"/>
                <a:gd name="T74" fmla="*/ 102 w 203"/>
                <a:gd name="T75" fmla="*/ 13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3" h="204">
                  <a:moveTo>
                    <a:pt x="203" y="121"/>
                  </a:moveTo>
                  <a:cubicBezTo>
                    <a:pt x="203" y="83"/>
                    <a:pt x="203" y="83"/>
                    <a:pt x="203" y="83"/>
                  </a:cubicBezTo>
                  <a:cubicBezTo>
                    <a:pt x="177" y="79"/>
                    <a:pt x="177" y="79"/>
                    <a:pt x="177" y="79"/>
                  </a:cubicBezTo>
                  <a:cubicBezTo>
                    <a:pt x="175" y="74"/>
                    <a:pt x="173" y="70"/>
                    <a:pt x="171" y="66"/>
                  </a:cubicBezTo>
                  <a:cubicBezTo>
                    <a:pt x="187" y="44"/>
                    <a:pt x="187" y="44"/>
                    <a:pt x="187" y="44"/>
                  </a:cubicBezTo>
                  <a:cubicBezTo>
                    <a:pt x="160" y="17"/>
                    <a:pt x="160" y="17"/>
                    <a:pt x="160" y="17"/>
                  </a:cubicBezTo>
                  <a:cubicBezTo>
                    <a:pt x="138" y="32"/>
                    <a:pt x="138" y="32"/>
                    <a:pt x="138" y="32"/>
                  </a:cubicBezTo>
                  <a:cubicBezTo>
                    <a:pt x="134" y="30"/>
                    <a:pt x="130" y="28"/>
                    <a:pt x="125" y="27"/>
                  </a:cubicBezTo>
                  <a:cubicBezTo>
                    <a:pt x="120" y="0"/>
                    <a:pt x="120" y="0"/>
                    <a:pt x="120" y="0"/>
                  </a:cubicBezTo>
                  <a:cubicBezTo>
                    <a:pt x="83" y="0"/>
                    <a:pt x="83" y="0"/>
                    <a:pt x="83" y="0"/>
                  </a:cubicBezTo>
                  <a:cubicBezTo>
                    <a:pt x="78" y="27"/>
                    <a:pt x="78" y="27"/>
                    <a:pt x="78" y="27"/>
                  </a:cubicBezTo>
                  <a:cubicBezTo>
                    <a:pt x="74" y="28"/>
                    <a:pt x="69" y="30"/>
                    <a:pt x="65" y="32"/>
                  </a:cubicBezTo>
                  <a:cubicBezTo>
                    <a:pt x="43" y="17"/>
                    <a:pt x="43" y="17"/>
                    <a:pt x="43" y="17"/>
                  </a:cubicBezTo>
                  <a:cubicBezTo>
                    <a:pt x="16" y="44"/>
                    <a:pt x="16" y="44"/>
                    <a:pt x="16" y="44"/>
                  </a:cubicBezTo>
                  <a:cubicBezTo>
                    <a:pt x="32" y="66"/>
                    <a:pt x="32" y="66"/>
                    <a:pt x="32" y="66"/>
                  </a:cubicBezTo>
                  <a:cubicBezTo>
                    <a:pt x="30" y="70"/>
                    <a:pt x="28" y="74"/>
                    <a:pt x="27" y="79"/>
                  </a:cubicBezTo>
                  <a:cubicBezTo>
                    <a:pt x="0" y="83"/>
                    <a:pt x="0" y="83"/>
                    <a:pt x="0" y="83"/>
                  </a:cubicBezTo>
                  <a:cubicBezTo>
                    <a:pt x="0" y="121"/>
                    <a:pt x="0" y="121"/>
                    <a:pt x="0" y="121"/>
                  </a:cubicBezTo>
                  <a:cubicBezTo>
                    <a:pt x="27" y="125"/>
                    <a:pt x="27" y="125"/>
                    <a:pt x="27" y="125"/>
                  </a:cubicBezTo>
                  <a:cubicBezTo>
                    <a:pt x="28" y="130"/>
                    <a:pt x="30" y="134"/>
                    <a:pt x="32" y="139"/>
                  </a:cubicBezTo>
                  <a:cubicBezTo>
                    <a:pt x="16" y="161"/>
                    <a:pt x="16" y="161"/>
                    <a:pt x="16" y="161"/>
                  </a:cubicBezTo>
                  <a:cubicBezTo>
                    <a:pt x="43" y="187"/>
                    <a:pt x="43" y="187"/>
                    <a:pt x="43" y="187"/>
                  </a:cubicBezTo>
                  <a:cubicBezTo>
                    <a:pt x="65" y="172"/>
                    <a:pt x="65" y="172"/>
                    <a:pt x="65" y="172"/>
                  </a:cubicBezTo>
                  <a:cubicBezTo>
                    <a:pt x="69" y="174"/>
                    <a:pt x="74" y="176"/>
                    <a:pt x="78" y="177"/>
                  </a:cubicBezTo>
                  <a:cubicBezTo>
                    <a:pt x="83" y="204"/>
                    <a:pt x="83" y="204"/>
                    <a:pt x="83" y="204"/>
                  </a:cubicBezTo>
                  <a:cubicBezTo>
                    <a:pt x="120" y="204"/>
                    <a:pt x="120" y="204"/>
                    <a:pt x="120" y="204"/>
                  </a:cubicBezTo>
                  <a:cubicBezTo>
                    <a:pt x="125" y="177"/>
                    <a:pt x="125" y="177"/>
                    <a:pt x="125" y="177"/>
                  </a:cubicBezTo>
                  <a:cubicBezTo>
                    <a:pt x="130" y="176"/>
                    <a:pt x="134" y="174"/>
                    <a:pt x="138" y="172"/>
                  </a:cubicBezTo>
                  <a:cubicBezTo>
                    <a:pt x="160" y="187"/>
                    <a:pt x="160" y="187"/>
                    <a:pt x="160" y="187"/>
                  </a:cubicBezTo>
                  <a:cubicBezTo>
                    <a:pt x="187" y="161"/>
                    <a:pt x="187" y="161"/>
                    <a:pt x="187" y="161"/>
                  </a:cubicBezTo>
                  <a:cubicBezTo>
                    <a:pt x="171" y="139"/>
                    <a:pt x="171" y="139"/>
                    <a:pt x="171" y="139"/>
                  </a:cubicBezTo>
                  <a:cubicBezTo>
                    <a:pt x="173" y="134"/>
                    <a:pt x="175" y="130"/>
                    <a:pt x="177" y="125"/>
                  </a:cubicBezTo>
                  <a:lnTo>
                    <a:pt x="203" y="121"/>
                  </a:lnTo>
                  <a:close/>
                  <a:moveTo>
                    <a:pt x="102" y="136"/>
                  </a:moveTo>
                  <a:cubicBezTo>
                    <a:pt x="83" y="136"/>
                    <a:pt x="68" y="121"/>
                    <a:pt x="68" y="102"/>
                  </a:cubicBezTo>
                  <a:cubicBezTo>
                    <a:pt x="68" y="84"/>
                    <a:pt x="83" y="69"/>
                    <a:pt x="102" y="69"/>
                  </a:cubicBezTo>
                  <a:cubicBezTo>
                    <a:pt x="120" y="69"/>
                    <a:pt x="135" y="84"/>
                    <a:pt x="135" y="102"/>
                  </a:cubicBezTo>
                  <a:cubicBezTo>
                    <a:pt x="135" y="121"/>
                    <a:pt x="120" y="136"/>
                    <a:pt x="102" y="13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a:ln>
                  <a:noFill/>
                </a:ln>
                <a:solidFill>
                  <a:srgbClr val="000000"/>
                </a:solidFill>
                <a:effectLst/>
                <a:uLnTx/>
                <a:uFillTx/>
                <a:latin typeface="Arial" charset="0"/>
                <a:ea typeface="+mn-ea"/>
                <a:cs typeface="+mn-cs"/>
              </a:endParaRPr>
            </a:p>
          </p:txBody>
        </p:sp>
        <p:sp>
          <p:nvSpPr>
            <p:cNvPr id="94" name="Freeform 72">
              <a:extLst>
                <a:ext uri="{FF2B5EF4-FFF2-40B4-BE49-F238E27FC236}">
                  <a16:creationId xmlns:a16="http://schemas.microsoft.com/office/drawing/2014/main" id="{D9760FDC-C689-0C2E-7DF1-3109C0FF257F}"/>
                </a:ext>
              </a:extLst>
            </p:cNvPr>
            <p:cNvSpPr>
              <a:spLocks/>
            </p:cNvSpPr>
            <p:nvPr/>
          </p:nvSpPr>
          <p:spPr bwMode="auto">
            <a:xfrm>
              <a:off x="5673258" y="1061500"/>
              <a:ext cx="251042" cy="128616"/>
            </a:xfrm>
            <a:custGeom>
              <a:avLst/>
              <a:gdLst>
                <a:gd name="T0" fmla="*/ 17837 w 19529"/>
                <a:gd name="T1" fmla="*/ 367 h 10315"/>
                <a:gd name="T2" fmla="*/ 14525 w 19529"/>
                <a:gd name="T3" fmla="*/ 3687 h 10315"/>
                <a:gd name="T4" fmla="*/ 9377 w 19529"/>
                <a:gd name="T5" fmla="*/ 3687 h 10315"/>
                <a:gd name="T6" fmla="*/ 9190 w 19529"/>
                <a:gd name="T7" fmla="*/ 3499 h 10315"/>
                <a:gd name="T8" fmla="*/ 9190 w 19529"/>
                <a:gd name="T9" fmla="*/ 3311 h 10315"/>
                <a:gd name="T10" fmla="*/ 9377 w 19529"/>
                <a:gd name="T11" fmla="*/ 3123 h 10315"/>
                <a:gd name="T12" fmla="*/ 12406 w 19529"/>
                <a:gd name="T13" fmla="*/ 3123 h 10315"/>
                <a:gd name="T14" fmla="*/ 13344 w 19529"/>
                <a:gd name="T15" fmla="*/ 2183 h 10315"/>
                <a:gd name="T16" fmla="*/ 12406 w 19529"/>
                <a:gd name="T17" fmla="*/ 1243 h 10315"/>
                <a:gd name="T18" fmla="*/ 5021 w 19529"/>
                <a:gd name="T19" fmla="*/ 1243 h 10315"/>
                <a:gd name="T20" fmla="*/ 4358 w 19529"/>
                <a:gd name="T21" fmla="*/ 1518 h 10315"/>
                <a:gd name="T22" fmla="*/ 280 w 19529"/>
                <a:gd name="T23" fmla="*/ 5608 h 10315"/>
                <a:gd name="T24" fmla="*/ 5 w 19529"/>
                <a:gd name="T25" fmla="*/ 6291 h 10315"/>
                <a:gd name="T26" fmla="*/ 7 w 19529"/>
                <a:gd name="T27" fmla="*/ 9424 h 10315"/>
                <a:gd name="T28" fmla="*/ 279 w 19529"/>
                <a:gd name="T29" fmla="*/ 10040 h 10315"/>
                <a:gd name="T30" fmla="*/ 942 w 19529"/>
                <a:gd name="T31" fmla="*/ 10315 h 10315"/>
                <a:gd name="T32" fmla="*/ 1606 w 19529"/>
                <a:gd name="T33" fmla="*/ 10040 h 10315"/>
                <a:gd name="T34" fmla="*/ 5410 w 19529"/>
                <a:gd name="T35" fmla="*/ 6226 h 10315"/>
                <a:gd name="T36" fmla="*/ 14257 w 19529"/>
                <a:gd name="T37" fmla="*/ 6226 h 10315"/>
                <a:gd name="T38" fmla="*/ 14920 w 19529"/>
                <a:gd name="T39" fmla="*/ 5951 h 10315"/>
                <a:gd name="T40" fmla="*/ 19163 w 19529"/>
                <a:gd name="T41" fmla="*/ 1697 h 10315"/>
                <a:gd name="T42" fmla="*/ 19163 w 19529"/>
                <a:gd name="T43" fmla="*/ 367 h 10315"/>
                <a:gd name="T44" fmla="*/ 17837 w 19529"/>
                <a:gd name="T45" fmla="*/ 367 h 10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529" h="10315">
                  <a:moveTo>
                    <a:pt x="17837" y="367"/>
                  </a:moveTo>
                  <a:lnTo>
                    <a:pt x="14525" y="3687"/>
                  </a:lnTo>
                  <a:lnTo>
                    <a:pt x="9377" y="3687"/>
                  </a:lnTo>
                  <a:cubicBezTo>
                    <a:pt x="9274" y="3687"/>
                    <a:pt x="9190" y="3603"/>
                    <a:pt x="9190" y="3499"/>
                  </a:cubicBezTo>
                  <a:lnTo>
                    <a:pt x="9190" y="3311"/>
                  </a:lnTo>
                  <a:cubicBezTo>
                    <a:pt x="9190" y="3207"/>
                    <a:pt x="9274" y="3123"/>
                    <a:pt x="9377" y="3123"/>
                  </a:cubicBezTo>
                  <a:lnTo>
                    <a:pt x="12406" y="3123"/>
                  </a:lnTo>
                  <a:cubicBezTo>
                    <a:pt x="12924" y="3123"/>
                    <a:pt x="13344" y="2702"/>
                    <a:pt x="13344" y="2183"/>
                  </a:cubicBezTo>
                  <a:cubicBezTo>
                    <a:pt x="13344" y="1664"/>
                    <a:pt x="12924" y="1243"/>
                    <a:pt x="12406" y="1243"/>
                  </a:cubicBezTo>
                  <a:lnTo>
                    <a:pt x="5021" y="1243"/>
                  </a:lnTo>
                  <a:cubicBezTo>
                    <a:pt x="4773" y="1243"/>
                    <a:pt x="4534" y="1342"/>
                    <a:pt x="4358" y="1518"/>
                  </a:cubicBezTo>
                  <a:lnTo>
                    <a:pt x="280" y="5608"/>
                  </a:lnTo>
                  <a:cubicBezTo>
                    <a:pt x="92" y="5796"/>
                    <a:pt x="0" y="6045"/>
                    <a:pt x="5" y="6291"/>
                  </a:cubicBezTo>
                  <a:cubicBezTo>
                    <a:pt x="9" y="6463"/>
                    <a:pt x="1" y="9296"/>
                    <a:pt x="7" y="9424"/>
                  </a:cubicBezTo>
                  <a:cubicBezTo>
                    <a:pt x="18" y="9648"/>
                    <a:pt x="109" y="9869"/>
                    <a:pt x="279" y="10040"/>
                  </a:cubicBezTo>
                  <a:cubicBezTo>
                    <a:pt x="462" y="10223"/>
                    <a:pt x="702" y="10315"/>
                    <a:pt x="942" y="10315"/>
                  </a:cubicBezTo>
                  <a:cubicBezTo>
                    <a:pt x="1182" y="10315"/>
                    <a:pt x="1422" y="10223"/>
                    <a:pt x="1606" y="10040"/>
                  </a:cubicBezTo>
                  <a:lnTo>
                    <a:pt x="5410" y="6226"/>
                  </a:lnTo>
                  <a:lnTo>
                    <a:pt x="14257" y="6226"/>
                  </a:lnTo>
                  <a:cubicBezTo>
                    <a:pt x="14506" y="6226"/>
                    <a:pt x="14744" y="6127"/>
                    <a:pt x="14920" y="5951"/>
                  </a:cubicBezTo>
                  <a:lnTo>
                    <a:pt x="19163" y="1697"/>
                  </a:lnTo>
                  <a:cubicBezTo>
                    <a:pt x="19529" y="1329"/>
                    <a:pt x="19529" y="734"/>
                    <a:pt x="19163" y="367"/>
                  </a:cubicBezTo>
                  <a:cubicBezTo>
                    <a:pt x="18797" y="0"/>
                    <a:pt x="18203" y="0"/>
                    <a:pt x="17837" y="367"/>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charset="0"/>
                <a:ea typeface="+mn-ea"/>
                <a:cs typeface="+mn-cs"/>
              </a:endParaRPr>
            </a:p>
          </p:txBody>
        </p:sp>
      </p:grpSp>
      <p:sp>
        <p:nvSpPr>
          <p:cNvPr id="72" name="Title 1">
            <a:extLst>
              <a:ext uri="{FF2B5EF4-FFF2-40B4-BE49-F238E27FC236}">
                <a16:creationId xmlns:a16="http://schemas.microsoft.com/office/drawing/2014/main" id="{1F15DD90-D02C-689A-059D-1BD5F7AE8DD5}"/>
              </a:ext>
            </a:extLst>
          </p:cNvPr>
          <p:cNvSpPr>
            <a:spLocks noGrp="1"/>
          </p:cNvSpPr>
          <p:nvPr>
            <p:ph type="title"/>
          </p:nvPr>
        </p:nvSpPr>
        <p:spPr bwMode="gray">
          <a:xfrm>
            <a:off x="0" y="0"/>
            <a:ext cx="12191979" cy="1292630"/>
          </a:xfrm>
          <a:prstGeom prst="rect">
            <a:avLst/>
          </a:prstGeom>
          <a:solidFill>
            <a:srgbClr val="002576"/>
          </a:solidFill>
          <a:ln>
            <a:noFill/>
          </a:ln>
          <a:effectLst/>
        </p:spPr>
        <p:txBody>
          <a:bodyPr vert="horz" wrap="square" lIns="91440" tIns="45720" rIns="91440" bIns="45720" numCol="1" rtlCol="0" anchor="ctr" anchorCtr="0" compatLnSpc="1">
            <a:prstTxWarp prst="textNoShape">
              <a:avLst/>
            </a:prstTxWarp>
            <a:noAutofit/>
          </a:bodyPr>
          <a:lstStyle/>
          <a:p>
            <a:pPr algn="ctr" defTabSz="457200">
              <a:spcAft>
                <a:spcPts val="0"/>
              </a:spcAft>
              <a:tabLst/>
            </a:pPr>
            <a:r>
              <a:rPr lang="en-US" sz="2800" dirty="0">
                <a:solidFill>
                  <a:schemeClr val="bg1"/>
                </a:solidFill>
                <a:latin typeface="Arial Black"/>
              </a:rPr>
              <a:t>MEDC Real Estate Development Tools</a:t>
            </a:r>
            <a:endParaRPr lang="en-US" sz="2800" dirty="0">
              <a:solidFill>
                <a:schemeClr val="bg1"/>
              </a:solidFill>
            </a:endParaRPr>
          </a:p>
        </p:txBody>
      </p:sp>
      <p:sp>
        <p:nvSpPr>
          <p:cNvPr id="4" name="Rectangle 3" hidden="1">
            <a:extLst>
              <a:ext uri="{FF2B5EF4-FFF2-40B4-BE49-F238E27FC236}">
                <a16:creationId xmlns:a16="http://schemas.microsoft.com/office/drawing/2014/main" id="{CC6701AE-C76B-0BDB-47DA-614EAFE5AE3C}"/>
              </a:ext>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9" name="Rectangle 8">
            <a:extLst>
              <a:ext uri="{FF2B5EF4-FFF2-40B4-BE49-F238E27FC236}">
                <a16:creationId xmlns:a16="http://schemas.microsoft.com/office/drawing/2014/main" id="{2466BCAF-7B63-B5BD-1E95-A11761290E56}"/>
              </a:ext>
            </a:extLst>
          </p:cNvPr>
          <p:cNvSpPr/>
          <p:nvPr/>
        </p:nvSpPr>
        <p:spPr>
          <a:xfrm>
            <a:off x="10883" y="1291012"/>
            <a:ext cx="12192000" cy="87733"/>
          </a:xfrm>
          <a:prstGeom prst="rect">
            <a:avLst/>
          </a:prstGeom>
          <a:solidFill>
            <a:srgbClr val="9CCF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sp>
        <p:nvSpPr>
          <p:cNvPr id="2" name="TextBox 1">
            <a:extLst>
              <a:ext uri="{FF2B5EF4-FFF2-40B4-BE49-F238E27FC236}">
                <a16:creationId xmlns:a16="http://schemas.microsoft.com/office/drawing/2014/main" id="{0BFE185C-F38E-FABB-8F49-B584D292A5AB}"/>
              </a:ext>
            </a:extLst>
          </p:cNvPr>
          <p:cNvSpPr txBox="1"/>
          <p:nvPr/>
        </p:nvSpPr>
        <p:spPr>
          <a:xfrm>
            <a:off x="4049485" y="1763576"/>
            <a:ext cx="8033657" cy="5262979"/>
          </a:xfrm>
          <a:prstGeom prst="rect">
            <a:avLst/>
          </a:prstGeom>
          <a:noFill/>
        </p:spPr>
        <p:txBody>
          <a:bodyPr wrap="square" rtlCol="0">
            <a:spAutoFit/>
          </a:bodyPr>
          <a:lstStyle/>
          <a:p>
            <a:pPr marL="457200" indent="-457200">
              <a:buFont typeface="Arial" panose="020B0604020202020204" pitchFamily="34" charset="0"/>
              <a:buChar char="•"/>
            </a:pPr>
            <a:r>
              <a:rPr lang="en-US" sz="2800" dirty="0"/>
              <a:t>Tax Increment Financing (TIF) allows developers to be reimbursed over time for eligible up-front investments </a:t>
            </a:r>
          </a:p>
          <a:p>
            <a:pPr marL="457200" indent="-457200">
              <a:buFont typeface="Arial" panose="020B0604020202020204" pitchFamily="34" charset="0"/>
              <a:buChar char="•"/>
            </a:pPr>
            <a:endParaRPr lang="en-US" sz="2800" dirty="0"/>
          </a:p>
          <a:p>
            <a:pPr marL="457200" indent="-457200">
              <a:buFont typeface="Arial" panose="020B0604020202020204" pitchFamily="34" charset="0"/>
              <a:buChar char="•"/>
            </a:pPr>
            <a:r>
              <a:rPr lang="en-US" sz="2800" dirty="0"/>
              <a:t>Allows developer to address existing site conditions on properties that are historic, blighted, functionally obsolete or a facility</a:t>
            </a:r>
          </a:p>
          <a:p>
            <a:pPr marL="457200" indent="-457200">
              <a:buFont typeface="Arial" panose="020B0604020202020204" pitchFamily="34" charset="0"/>
              <a:buChar char="•"/>
            </a:pPr>
            <a:endParaRPr lang="en-US" sz="2800" dirty="0"/>
          </a:p>
          <a:p>
            <a:pPr marL="457200" indent="-457200">
              <a:buFont typeface="Arial" panose="020B0604020202020204" pitchFamily="34" charset="0"/>
              <a:buChar char="•"/>
            </a:pPr>
            <a:r>
              <a:rPr lang="en-US" sz="2800" dirty="0"/>
              <a:t>In Buchanan, MEDC eligible expenses include  demolition, lead/mold/asbestos abatement, site preparation, and infrastructure improvements</a:t>
            </a:r>
          </a:p>
          <a:p>
            <a:pPr marL="457200" indent="-457200">
              <a:buFont typeface="Arial" panose="020B0604020202020204" pitchFamily="34" charset="0"/>
              <a:buChar char="•"/>
            </a:pPr>
            <a:endParaRPr lang="en-US" sz="2800" dirty="0"/>
          </a:p>
        </p:txBody>
      </p:sp>
      <p:grpSp>
        <p:nvGrpSpPr>
          <p:cNvPr id="16" name="Group 15">
            <a:extLst>
              <a:ext uri="{FF2B5EF4-FFF2-40B4-BE49-F238E27FC236}">
                <a16:creationId xmlns:a16="http://schemas.microsoft.com/office/drawing/2014/main" id="{F5168363-5F5C-FB0F-9277-AE9EE53CA603}"/>
              </a:ext>
            </a:extLst>
          </p:cNvPr>
          <p:cNvGrpSpPr/>
          <p:nvPr/>
        </p:nvGrpSpPr>
        <p:grpSpPr>
          <a:xfrm>
            <a:off x="1017906" y="1866620"/>
            <a:ext cx="2755159" cy="4377484"/>
            <a:chOff x="4774678" y="1655327"/>
            <a:chExt cx="2234341" cy="4377484"/>
          </a:xfrm>
        </p:grpSpPr>
        <p:sp>
          <p:nvSpPr>
            <p:cNvPr id="17" name="Arrow: Pentagon 16">
              <a:extLst>
                <a:ext uri="{FF2B5EF4-FFF2-40B4-BE49-F238E27FC236}">
                  <a16:creationId xmlns:a16="http://schemas.microsoft.com/office/drawing/2014/main" id="{60C0EAEE-DC1B-3A2B-9389-23D68A628155}"/>
                </a:ext>
              </a:extLst>
            </p:cNvPr>
            <p:cNvSpPr/>
            <p:nvPr/>
          </p:nvSpPr>
          <p:spPr>
            <a:xfrm rot="5400000">
              <a:off x="3703107" y="2726898"/>
              <a:ext cx="4377484" cy="2234341"/>
            </a:xfrm>
            <a:prstGeom prst="homePlate">
              <a:avLst>
                <a:gd name="adj" fmla="val 18937"/>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vert="vert270" lIns="640080" tIns="182880" bIns="182880" rtlCol="0" anchor="t"/>
            <a:lstStyle/>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br>
                <a:rPr kumimoji="0" lang="en-US" sz="3200" b="1" i="0" u="none" strike="noStrike" kern="1200" cap="none" spc="0" normalizeH="0" baseline="0" noProof="0" dirty="0">
                  <a:ln>
                    <a:noFill/>
                  </a:ln>
                  <a:solidFill>
                    <a:srgbClr val="FFFFFF"/>
                  </a:solidFill>
                  <a:effectLst/>
                  <a:uLnTx/>
                  <a:uFillTx/>
                  <a:latin typeface="Arial"/>
                  <a:ea typeface="+mn-ea"/>
                  <a:cs typeface="+mn-cs"/>
                </a:rPr>
              </a:br>
              <a:r>
                <a:rPr kumimoji="0" lang="en-US" sz="3200" b="1" i="0" u="none" strike="noStrike" kern="1200" cap="none" spc="0" normalizeH="0" baseline="0" noProof="0" dirty="0">
                  <a:ln>
                    <a:noFill/>
                  </a:ln>
                  <a:solidFill>
                    <a:srgbClr val="FFFFFF"/>
                  </a:solidFill>
                  <a:effectLst/>
                  <a:uLnTx/>
                  <a:uFillTx/>
                  <a:ea typeface="+mn-ea"/>
                  <a:cs typeface="+mn-cs"/>
                </a:rPr>
                <a:t>Tax Increment Financing </a:t>
              </a:r>
            </a:p>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endParaRPr lang="en-US" sz="3200" b="1" dirty="0">
                <a:solidFill>
                  <a:srgbClr val="FFFFFF"/>
                </a:solidFill>
              </a:endParaRPr>
            </a:p>
            <a:p>
              <a:pPr marL="0" marR="0" lvl="0" indent="0" algn="ctr" defTabSz="914400" rtl="0" eaLnBrk="1" fontAlgn="auto" latinLnBrk="0" hangingPunct="1">
                <a:lnSpc>
                  <a:spcPct val="100000"/>
                </a:lnSpc>
                <a:spcBef>
                  <a:spcPts val="0"/>
                </a:spcBef>
                <a:spcAft>
                  <a:spcPts val="0"/>
                </a:spcAft>
                <a:buClr>
                  <a:srgbClr val="FFFFFF"/>
                </a:buClr>
                <a:buSzTx/>
                <a:buFontTx/>
                <a:buNone/>
                <a:tabLst/>
                <a:defRPr/>
              </a:pPr>
              <a:endParaRPr kumimoji="0" lang="en-US" sz="3200" i="0" u="none" strike="noStrike" kern="1200" cap="none" spc="0" normalizeH="0" baseline="0" noProof="0" dirty="0">
                <a:ln>
                  <a:noFill/>
                </a:ln>
                <a:solidFill>
                  <a:srgbClr val="FFFFFF"/>
                </a:solidFill>
                <a:effectLst/>
                <a:uLnTx/>
                <a:uFillTx/>
                <a:latin typeface="Arial"/>
                <a:ea typeface="+mn-ea"/>
                <a:cs typeface="+mn-cs"/>
              </a:endParaRPr>
            </a:p>
          </p:txBody>
        </p:sp>
        <p:pic>
          <p:nvPicPr>
            <p:cNvPr id="18" name="Picture 20" descr="Dollar with solid fill">
              <a:extLst>
                <a:ext uri="{FF2B5EF4-FFF2-40B4-BE49-F238E27FC236}">
                  <a16:creationId xmlns:a16="http://schemas.microsoft.com/office/drawing/2014/main" id="{3B4C02A5-4A77-F8C5-9468-2A9135948F3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rcRect/>
            <a:stretch/>
          </p:blipFill>
          <p:spPr>
            <a:xfrm>
              <a:off x="5589760" y="1827697"/>
              <a:ext cx="673290" cy="746196"/>
            </a:xfrm>
            <a:prstGeom prst="rect">
              <a:avLst/>
            </a:prstGeom>
          </p:spPr>
        </p:pic>
      </p:grpSp>
    </p:spTree>
    <p:extLst>
      <p:ext uri="{BB962C8B-B14F-4D97-AF65-F5344CB8AC3E}">
        <p14:creationId xmlns:p14="http://schemas.microsoft.com/office/powerpoint/2010/main" val="384883244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D773B8F-2905-D6CC-BF1D-6CF0979F74B2}"/>
            </a:ext>
          </a:extLst>
        </p:cNvPr>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4378D77-6F19-5351-F5EE-D9C335A04C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5" imgH="394" progId="TCLayout.ActiveDocument.1">
                  <p:embed/>
                </p:oleObj>
              </mc:Choice>
              <mc:Fallback>
                <p:oleObj name="think-cell Slide" r:id="rId5" imgW="395" imgH="394" progId="TCLayout.ActiveDocument.1">
                  <p:embed/>
                  <p:pic>
                    <p:nvPicPr>
                      <p:cNvPr id="3" name="Object 2" hidden="1">
                        <a:extLst>
                          <a:ext uri="{FF2B5EF4-FFF2-40B4-BE49-F238E27FC236}">
                            <a16:creationId xmlns:a16="http://schemas.microsoft.com/office/drawing/2014/main" id="{F4378D77-6F19-5351-F5EE-D9C335A04CC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6" name="Group 5">
            <a:extLst>
              <a:ext uri="{FF2B5EF4-FFF2-40B4-BE49-F238E27FC236}">
                <a16:creationId xmlns:a16="http://schemas.microsoft.com/office/drawing/2014/main" id="{2C8D8096-74A6-B517-A71E-B5229017760B}"/>
              </a:ext>
            </a:extLst>
          </p:cNvPr>
          <p:cNvGrpSpPr/>
          <p:nvPr/>
        </p:nvGrpSpPr>
        <p:grpSpPr>
          <a:xfrm>
            <a:off x="11660635" y="1104552"/>
            <a:ext cx="144734" cy="128417"/>
            <a:chOff x="11633817" y="1102402"/>
            <a:chExt cx="231147" cy="205087"/>
          </a:xfrm>
        </p:grpSpPr>
        <p:sp>
          <p:nvSpPr>
            <p:cNvPr id="151" name="Freeform 19">
              <a:extLst>
                <a:ext uri="{FF2B5EF4-FFF2-40B4-BE49-F238E27FC236}">
                  <a16:creationId xmlns:a16="http://schemas.microsoft.com/office/drawing/2014/main" id="{F74F8E75-09B4-3707-085D-EBA0D997E97C}"/>
                </a:ext>
              </a:extLst>
            </p:cNvPr>
            <p:cNvSpPr>
              <a:spLocks/>
            </p:cNvSpPr>
            <p:nvPr/>
          </p:nvSpPr>
          <p:spPr bwMode="auto">
            <a:xfrm>
              <a:off x="11676657" y="1169876"/>
              <a:ext cx="83691" cy="29778"/>
            </a:xfrm>
            <a:custGeom>
              <a:avLst/>
              <a:gdLst>
                <a:gd name="T0" fmla="*/ 107 w 206"/>
                <a:gd name="T1" fmla="*/ 77 h 77"/>
                <a:gd name="T2" fmla="*/ 107 w 206"/>
                <a:gd name="T3" fmla="*/ 77 h 77"/>
                <a:gd name="T4" fmla="*/ 106 w 206"/>
                <a:gd name="T5" fmla="*/ 77 h 77"/>
                <a:gd name="T6" fmla="*/ 5 w 206"/>
                <a:gd name="T7" fmla="*/ 26 h 77"/>
                <a:gd name="T8" fmla="*/ 8 w 206"/>
                <a:gd name="T9" fmla="*/ 5 h 77"/>
                <a:gd name="T10" fmla="*/ 29 w 206"/>
                <a:gd name="T11" fmla="*/ 8 h 77"/>
                <a:gd name="T12" fmla="*/ 107 w 206"/>
                <a:gd name="T13" fmla="*/ 46 h 77"/>
                <a:gd name="T14" fmla="*/ 177 w 206"/>
                <a:gd name="T15" fmla="*/ 7 h 77"/>
                <a:gd name="T16" fmla="*/ 199 w 206"/>
                <a:gd name="T17" fmla="*/ 5 h 77"/>
                <a:gd name="T18" fmla="*/ 201 w 206"/>
                <a:gd name="T19" fmla="*/ 26 h 77"/>
                <a:gd name="T20" fmla="*/ 107 w 206"/>
                <a:gd name="T21" fmla="*/ 77 h 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06" h="77">
                  <a:moveTo>
                    <a:pt x="107" y="77"/>
                  </a:moveTo>
                  <a:cubicBezTo>
                    <a:pt x="107" y="77"/>
                    <a:pt x="107" y="77"/>
                    <a:pt x="107" y="77"/>
                  </a:cubicBezTo>
                  <a:cubicBezTo>
                    <a:pt x="106" y="77"/>
                    <a:pt x="106" y="77"/>
                    <a:pt x="106" y="77"/>
                  </a:cubicBezTo>
                  <a:cubicBezTo>
                    <a:pt x="52" y="74"/>
                    <a:pt x="13" y="36"/>
                    <a:pt x="5" y="26"/>
                  </a:cubicBezTo>
                  <a:cubicBezTo>
                    <a:pt x="0" y="19"/>
                    <a:pt x="1" y="10"/>
                    <a:pt x="8" y="5"/>
                  </a:cubicBezTo>
                  <a:cubicBezTo>
                    <a:pt x="15" y="0"/>
                    <a:pt x="24" y="1"/>
                    <a:pt x="29" y="8"/>
                  </a:cubicBezTo>
                  <a:cubicBezTo>
                    <a:pt x="34" y="14"/>
                    <a:pt x="66" y="44"/>
                    <a:pt x="107" y="46"/>
                  </a:cubicBezTo>
                  <a:cubicBezTo>
                    <a:pt x="145" y="46"/>
                    <a:pt x="177" y="8"/>
                    <a:pt x="177" y="7"/>
                  </a:cubicBezTo>
                  <a:cubicBezTo>
                    <a:pt x="182" y="1"/>
                    <a:pt x="192" y="0"/>
                    <a:pt x="199" y="5"/>
                  </a:cubicBezTo>
                  <a:cubicBezTo>
                    <a:pt x="205" y="10"/>
                    <a:pt x="206" y="20"/>
                    <a:pt x="201" y="26"/>
                  </a:cubicBezTo>
                  <a:cubicBezTo>
                    <a:pt x="199" y="28"/>
                    <a:pt x="160" y="77"/>
                    <a:pt x="107" y="77"/>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a:ln>
                  <a:noFill/>
                </a:ln>
                <a:solidFill>
                  <a:srgbClr val="000000"/>
                </a:solidFill>
                <a:effectLst/>
                <a:uLnTx/>
                <a:uFillTx/>
                <a:latin typeface="Arial" charset="0"/>
                <a:ea typeface="+mn-ea"/>
                <a:cs typeface="+mn-cs"/>
              </a:endParaRPr>
            </a:p>
          </p:txBody>
        </p:sp>
        <p:sp>
          <p:nvSpPr>
            <p:cNvPr id="152" name="Freeform 20">
              <a:extLst>
                <a:ext uri="{FF2B5EF4-FFF2-40B4-BE49-F238E27FC236}">
                  <a16:creationId xmlns:a16="http://schemas.microsoft.com/office/drawing/2014/main" id="{6009B4E4-77D7-F7C0-F10D-5F0BAE65575B}"/>
                </a:ext>
              </a:extLst>
            </p:cNvPr>
            <p:cNvSpPr>
              <a:spLocks noEditPoints="1"/>
            </p:cNvSpPr>
            <p:nvPr/>
          </p:nvSpPr>
          <p:spPr bwMode="auto">
            <a:xfrm>
              <a:off x="11633817" y="1102402"/>
              <a:ext cx="231147" cy="205087"/>
            </a:xfrm>
            <a:custGeom>
              <a:avLst/>
              <a:gdLst>
                <a:gd name="T0" fmla="*/ 550 w 570"/>
                <a:gd name="T1" fmla="*/ 406 h 524"/>
                <a:gd name="T2" fmla="*/ 397 w 570"/>
                <a:gd name="T3" fmla="*/ 305 h 524"/>
                <a:gd name="T4" fmla="*/ 395 w 570"/>
                <a:gd name="T5" fmla="*/ 304 h 524"/>
                <a:gd name="T6" fmla="*/ 418 w 570"/>
                <a:gd name="T7" fmla="*/ 209 h 524"/>
                <a:gd name="T8" fmla="*/ 209 w 570"/>
                <a:gd name="T9" fmla="*/ 0 h 524"/>
                <a:gd name="T10" fmla="*/ 0 w 570"/>
                <a:gd name="T11" fmla="*/ 209 h 524"/>
                <a:gd name="T12" fmla="*/ 209 w 570"/>
                <a:gd name="T13" fmla="*/ 418 h 524"/>
                <a:gd name="T14" fmla="*/ 336 w 570"/>
                <a:gd name="T15" fmla="*/ 375 h 524"/>
                <a:gd name="T16" fmla="*/ 337 w 570"/>
                <a:gd name="T17" fmla="*/ 376 h 524"/>
                <a:gd name="T18" fmla="*/ 464 w 570"/>
                <a:gd name="T19" fmla="*/ 510 h 524"/>
                <a:gd name="T20" fmla="*/ 520 w 570"/>
                <a:gd name="T21" fmla="*/ 505 h 524"/>
                <a:gd name="T22" fmla="*/ 556 w 570"/>
                <a:gd name="T23" fmla="*/ 462 h 524"/>
                <a:gd name="T24" fmla="*/ 550 w 570"/>
                <a:gd name="T25" fmla="*/ 406 h 524"/>
                <a:gd name="T26" fmla="*/ 209 w 570"/>
                <a:gd name="T27" fmla="*/ 364 h 524"/>
                <a:gd name="T28" fmla="*/ 54 w 570"/>
                <a:gd name="T29" fmla="*/ 209 h 524"/>
                <a:gd name="T30" fmla="*/ 209 w 570"/>
                <a:gd name="T31" fmla="*/ 54 h 524"/>
                <a:gd name="T32" fmla="*/ 364 w 570"/>
                <a:gd name="T33" fmla="*/ 209 h 524"/>
                <a:gd name="T34" fmla="*/ 209 w 570"/>
                <a:gd name="T35" fmla="*/ 364 h 5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70" h="524">
                  <a:moveTo>
                    <a:pt x="550" y="406"/>
                  </a:moveTo>
                  <a:cubicBezTo>
                    <a:pt x="397" y="305"/>
                    <a:pt x="397" y="305"/>
                    <a:pt x="397" y="305"/>
                  </a:cubicBezTo>
                  <a:cubicBezTo>
                    <a:pt x="396" y="305"/>
                    <a:pt x="396" y="304"/>
                    <a:pt x="395" y="304"/>
                  </a:cubicBezTo>
                  <a:cubicBezTo>
                    <a:pt x="410" y="276"/>
                    <a:pt x="418" y="243"/>
                    <a:pt x="418" y="209"/>
                  </a:cubicBezTo>
                  <a:cubicBezTo>
                    <a:pt x="418" y="94"/>
                    <a:pt x="324" y="0"/>
                    <a:pt x="209" y="0"/>
                  </a:cubicBezTo>
                  <a:cubicBezTo>
                    <a:pt x="94" y="0"/>
                    <a:pt x="0" y="94"/>
                    <a:pt x="0" y="209"/>
                  </a:cubicBezTo>
                  <a:cubicBezTo>
                    <a:pt x="0" y="324"/>
                    <a:pt x="94" y="418"/>
                    <a:pt x="209" y="418"/>
                  </a:cubicBezTo>
                  <a:cubicBezTo>
                    <a:pt x="257" y="418"/>
                    <a:pt x="301" y="402"/>
                    <a:pt x="336" y="375"/>
                  </a:cubicBezTo>
                  <a:cubicBezTo>
                    <a:pt x="336" y="375"/>
                    <a:pt x="337" y="376"/>
                    <a:pt x="337" y="376"/>
                  </a:cubicBezTo>
                  <a:cubicBezTo>
                    <a:pt x="464" y="510"/>
                    <a:pt x="464" y="510"/>
                    <a:pt x="464" y="510"/>
                  </a:cubicBezTo>
                  <a:cubicBezTo>
                    <a:pt x="481" y="524"/>
                    <a:pt x="506" y="522"/>
                    <a:pt x="520" y="505"/>
                  </a:cubicBezTo>
                  <a:cubicBezTo>
                    <a:pt x="556" y="462"/>
                    <a:pt x="556" y="462"/>
                    <a:pt x="556" y="462"/>
                  </a:cubicBezTo>
                  <a:cubicBezTo>
                    <a:pt x="570" y="445"/>
                    <a:pt x="567" y="420"/>
                    <a:pt x="550" y="406"/>
                  </a:cubicBezTo>
                  <a:close/>
                  <a:moveTo>
                    <a:pt x="209" y="364"/>
                  </a:moveTo>
                  <a:cubicBezTo>
                    <a:pt x="123" y="364"/>
                    <a:pt x="54" y="295"/>
                    <a:pt x="54" y="209"/>
                  </a:cubicBezTo>
                  <a:cubicBezTo>
                    <a:pt x="54" y="124"/>
                    <a:pt x="123" y="54"/>
                    <a:pt x="209" y="54"/>
                  </a:cubicBezTo>
                  <a:cubicBezTo>
                    <a:pt x="295" y="54"/>
                    <a:pt x="364" y="124"/>
                    <a:pt x="364" y="209"/>
                  </a:cubicBezTo>
                  <a:cubicBezTo>
                    <a:pt x="364" y="295"/>
                    <a:pt x="295" y="364"/>
                    <a:pt x="209" y="36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a:ln>
                  <a:noFill/>
                </a:ln>
                <a:solidFill>
                  <a:srgbClr val="000000"/>
                </a:solidFill>
                <a:effectLst/>
                <a:uLnTx/>
                <a:uFillTx/>
                <a:latin typeface="Arial" charset="0"/>
                <a:ea typeface="+mn-ea"/>
                <a:cs typeface="+mn-cs"/>
              </a:endParaRPr>
            </a:p>
          </p:txBody>
        </p:sp>
      </p:grpSp>
      <p:grpSp>
        <p:nvGrpSpPr>
          <p:cNvPr id="226" name="Group 225">
            <a:extLst>
              <a:ext uri="{FF2B5EF4-FFF2-40B4-BE49-F238E27FC236}">
                <a16:creationId xmlns:a16="http://schemas.microsoft.com/office/drawing/2014/main" id="{173DDA96-3CA6-B7AF-2CE8-6AC4B9279DFD}"/>
              </a:ext>
            </a:extLst>
          </p:cNvPr>
          <p:cNvGrpSpPr/>
          <p:nvPr/>
        </p:nvGrpSpPr>
        <p:grpSpPr>
          <a:xfrm>
            <a:off x="5713706" y="1094902"/>
            <a:ext cx="170146" cy="178230"/>
            <a:chOff x="5673258" y="927146"/>
            <a:chExt cx="251042" cy="262970"/>
          </a:xfrm>
        </p:grpSpPr>
        <p:sp>
          <p:nvSpPr>
            <p:cNvPr id="200" name="Freeform 14">
              <a:extLst>
                <a:ext uri="{FF2B5EF4-FFF2-40B4-BE49-F238E27FC236}">
                  <a16:creationId xmlns:a16="http://schemas.microsoft.com/office/drawing/2014/main" id="{23974480-FF88-6BFB-A08C-E6441E0C32B0}"/>
                </a:ext>
              </a:extLst>
            </p:cNvPr>
            <p:cNvSpPr>
              <a:spLocks noEditPoints="1"/>
            </p:cNvSpPr>
            <p:nvPr/>
          </p:nvSpPr>
          <p:spPr bwMode="auto">
            <a:xfrm>
              <a:off x="5785978" y="927146"/>
              <a:ext cx="128800" cy="125036"/>
            </a:xfrm>
            <a:custGeom>
              <a:avLst/>
              <a:gdLst>
                <a:gd name="T0" fmla="*/ 203 w 203"/>
                <a:gd name="T1" fmla="*/ 121 h 204"/>
                <a:gd name="T2" fmla="*/ 203 w 203"/>
                <a:gd name="T3" fmla="*/ 83 h 204"/>
                <a:gd name="T4" fmla="*/ 177 w 203"/>
                <a:gd name="T5" fmla="*/ 79 h 204"/>
                <a:gd name="T6" fmla="*/ 171 w 203"/>
                <a:gd name="T7" fmla="*/ 66 h 204"/>
                <a:gd name="T8" fmla="*/ 187 w 203"/>
                <a:gd name="T9" fmla="*/ 44 h 204"/>
                <a:gd name="T10" fmla="*/ 160 w 203"/>
                <a:gd name="T11" fmla="*/ 17 h 204"/>
                <a:gd name="T12" fmla="*/ 138 w 203"/>
                <a:gd name="T13" fmla="*/ 32 h 204"/>
                <a:gd name="T14" fmla="*/ 125 w 203"/>
                <a:gd name="T15" fmla="*/ 27 h 204"/>
                <a:gd name="T16" fmla="*/ 120 w 203"/>
                <a:gd name="T17" fmla="*/ 0 h 204"/>
                <a:gd name="T18" fmla="*/ 83 w 203"/>
                <a:gd name="T19" fmla="*/ 0 h 204"/>
                <a:gd name="T20" fmla="*/ 78 w 203"/>
                <a:gd name="T21" fmla="*/ 27 h 204"/>
                <a:gd name="T22" fmla="*/ 65 w 203"/>
                <a:gd name="T23" fmla="*/ 32 h 204"/>
                <a:gd name="T24" fmla="*/ 43 w 203"/>
                <a:gd name="T25" fmla="*/ 17 h 204"/>
                <a:gd name="T26" fmla="*/ 16 w 203"/>
                <a:gd name="T27" fmla="*/ 44 h 204"/>
                <a:gd name="T28" fmla="*/ 32 w 203"/>
                <a:gd name="T29" fmla="*/ 66 h 204"/>
                <a:gd name="T30" fmla="*/ 27 w 203"/>
                <a:gd name="T31" fmla="*/ 79 h 204"/>
                <a:gd name="T32" fmla="*/ 0 w 203"/>
                <a:gd name="T33" fmla="*/ 83 h 204"/>
                <a:gd name="T34" fmla="*/ 0 w 203"/>
                <a:gd name="T35" fmla="*/ 121 h 204"/>
                <a:gd name="T36" fmla="*/ 27 w 203"/>
                <a:gd name="T37" fmla="*/ 125 h 204"/>
                <a:gd name="T38" fmla="*/ 32 w 203"/>
                <a:gd name="T39" fmla="*/ 139 h 204"/>
                <a:gd name="T40" fmla="*/ 16 w 203"/>
                <a:gd name="T41" fmla="*/ 161 h 204"/>
                <a:gd name="T42" fmla="*/ 43 w 203"/>
                <a:gd name="T43" fmla="*/ 187 h 204"/>
                <a:gd name="T44" fmla="*/ 65 w 203"/>
                <a:gd name="T45" fmla="*/ 172 h 204"/>
                <a:gd name="T46" fmla="*/ 78 w 203"/>
                <a:gd name="T47" fmla="*/ 177 h 204"/>
                <a:gd name="T48" fmla="*/ 83 w 203"/>
                <a:gd name="T49" fmla="*/ 204 h 204"/>
                <a:gd name="T50" fmla="*/ 120 w 203"/>
                <a:gd name="T51" fmla="*/ 204 h 204"/>
                <a:gd name="T52" fmla="*/ 125 w 203"/>
                <a:gd name="T53" fmla="*/ 177 h 204"/>
                <a:gd name="T54" fmla="*/ 138 w 203"/>
                <a:gd name="T55" fmla="*/ 172 h 204"/>
                <a:gd name="T56" fmla="*/ 160 w 203"/>
                <a:gd name="T57" fmla="*/ 187 h 204"/>
                <a:gd name="T58" fmla="*/ 187 w 203"/>
                <a:gd name="T59" fmla="*/ 161 h 204"/>
                <a:gd name="T60" fmla="*/ 171 w 203"/>
                <a:gd name="T61" fmla="*/ 139 h 204"/>
                <a:gd name="T62" fmla="*/ 177 w 203"/>
                <a:gd name="T63" fmla="*/ 125 h 204"/>
                <a:gd name="T64" fmla="*/ 203 w 203"/>
                <a:gd name="T65" fmla="*/ 121 h 204"/>
                <a:gd name="T66" fmla="*/ 102 w 203"/>
                <a:gd name="T67" fmla="*/ 136 h 204"/>
                <a:gd name="T68" fmla="*/ 68 w 203"/>
                <a:gd name="T69" fmla="*/ 102 h 204"/>
                <a:gd name="T70" fmla="*/ 102 w 203"/>
                <a:gd name="T71" fmla="*/ 69 h 204"/>
                <a:gd name="T72" fmla="*/ 135 w 203"/>
                <a:gd name="T73" fmla="*/ 102 h 204"/>
                <a:gd name="T74" fmla="*/ 102 w 203"/>
                <a:gd name="T75" fmla="*/ 136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3" h="204">
                  <a:moveTo>
                    <a:pt x="203" y="121"/>
                  </a:moveTo>
                  <a:cubicBezTo>
                    <a:pt x="203" y="83"/>
                    <a:pt x="203" y="83"/>
                    <a:pt x="203" y="83"/>
                  </a:cubicBezTo>
                  <a:cubicBezTo>
                    <a:pt x="177" y="79"/>
                    <a:pt x="177" y="79"/>
                    <a:pt x="177" y="79"/>
                  </a:cubicBezTo>
                  <a:cubicBezTo>
                    <a:pt x="175" y="74"/>
                    <a:pt x="173" y="70"/>
                    <a:pt x="171" y="66"/>
                  </a:cubicBezTo>
                  <a:cubicBezTo>
                    <a:pt x="187" y="44"/>
                    <a:pt x="187" y="44"/>
                    <a:pt x="187" y="44"/>
                  </a:cubicBezTo>
                  <a:cubicBezTo>
                    <a:pt x="160" y="17"/>
                    <a:pt x="160" y="17"/>
                    <a:pt x="160" y="17"/>
                  </a:cubicBezTo>
                  <a:cubicBezTo>
                    <a:pt x="138" y="32"/>
                    <a:pt x="138" y="32"/>
                    <a:pt x="138" y="32"/>
                  </a:cubicBezTo>
                  <a:cubicBezTo>
                    <a:pt x="134" y="30"/>
                    <a:pt x="130" y="28"/>
                    <a:pt x="125" y="27"/>
                  </a:cubicBezTo>
                  <a:cubicBezTo>
                    <a:pt x="120" y="0"/>
                    <a:pt x="120" y="0"/>
                    <a:pt x="120" y="0"/>
                  </a:cubicBezTo>
                  <a:cubicBezTo>
                    <a:pt x="83" y="0"/>
                    <a:pt x="83" y="0"/>
                    <a:pt x="83" y="0"/>
                  </a:cubicBezTo>
                  <a:cubicBezTo>
                    <a:pt x="78" y="27"/>
                    <a:pt x="78" y="27"/>
                    <a:pt x="78" y="27"/>
                  </a:cubicBezTo>
                  <a:cubicBezTo>
                    <a:pt x="74" y="28"/>
                    <a:pt x="69" y="30"/>
                    <a:pt x="65" y="32"/>
                  </a:cubicBezTo>
                  <a:cubicBezTo>
                    <a:pt x="43" y="17"/>
                    <a:pt x="43" y="17"/>
                    <a:pt x="43" y="17"/>
                  </a:cubicBezTo>
                  <a:cubicBezTo>
                    <a:pt x="16" y="44"/>
                    <a:pt x="16" y="44"/>
                    <a:pt x="16" y="44"/>
                  </a:cubicBezTo>
                  <a:cubicBezTo>
                    <a:pt x="32" y="66"/>
                    <a:pt x="32" y="66"/>
                    <a:pt x="32" y="66"/>
                  </a:cubicBezTo>
                  <a:cubicBezTo>
                    <a:pt x="30" y="70"/>
                    <a:pt x="28" y="74"/>
                    <a:pt x="27" y="79"/>
                  </a:cubicBezTo>
                  <a:cubicBezTo>
                    <a:pt x="0" y="83"/>
                    <a:pt x="0" y="83"/>
                    <a:pt x="0" y="83"/>
                  </a:cubicBezTo>
                  <a:cubicBezTo>
                    <a:pt x="0" y="121"/>
                    <a:pt x="0" y="121"/>
                    <a:pt x="0" y="121"/>
                  </a:cubicBezTo>
                  <a:cubicBezTo>
                    <a:pt x="27" y="125"/>
                    <a:pt x="27" y="125"/>
                    <a:pt x="27" y="125"/>
                  </a:cubicBezTo>
                  <a:cubicBezTo>
                    <a:pt x="28" y="130"/>
                    <a:pt x="30" y="134"/>
                    <a:pt x="32" y="139"/>
                  </a:cubicBezTo>
                  <a:cubicBezTo>
                    <a:pt x="16" y="161"/>
                    <a:pt x="16" y="161"/>
                    <a:pt x="16" y="161"/>
                  </a:cubicBezTo>
                  <a:cubicBezTo>
                    <a:pt x="43" y="187"/>
                    <a:pt x="43" y="187"/>
                    <a:pt x="43" y="187"/>
                  </a:cubicBezTo>
                  <a:cubicBezTo>
                    <a:pt x="65" y="172"/>
                    <a:pt x="65" y="172"/>
                    <a:pt x="65" y="172"/>
                  </a:cubicBezTo>
                  <a:cubicBezTo>
                    <a:pt x="69" y="174"/>
                    <a:pt x="74" y="176"/>
                    <a:pt x="78" y="177"/>
                  </a:cubicBezTo>
                  <a:cubicBezTo>
                    <a:pt x="83" y="204"/>
                    <a:pt x="83" y="204"/>
                    <a:pt x="83" y="204"/>
                  </a:cubicBezTo>
                  <a:cubicBezTo>
                    <a:pt x="120" y="204"/>
                    <a:pt x="120" y="204"/>
                    <a:pt x="120" y="204"/>
                  </a:cubicBezTo>
                  <a:cubicBezTo>
                    <a:pt x="125" y="177"/>
                    <a:pt x="125" y="177"/>
                    <a:pt x="125" y="177"/>
                  </a:cubicBezTo>
                  <a:cubicBezTo>
                    <a:pt x="130" y="176"/>
                    <a:pt x="134" y="174"/>
                    <a:pt x="138" y="172"/>
                  </a:cubicBezTo>
                  <a:cubicBezTo>
                    <a:pt x="160" y="187"/>
                    <a:pt x="160" y="187"/>
                    <a:pt x="160" y="187"/>
                  </a:cubicBezTo>
                  <a:cubicBezTo>
                    <a:pt x="187" y="161"/>
                    <a:pt x="187" y="161"/>
                    <a:pt x="187" y="161"/>
                  </a:cubicBezTo>
                  <a:cubicBezTo>
                    <a:pt x="171" y="139"/>
                    <a:pt x="171" y="139"/>
                    <a:pt x="171" y="139"/>
                  </a:cubicBezTo>
                  <a:cubicBezTo>
                    <a:pt x="173" y="134"/>
                    <a:pt x="175" y="130"/>
                    <a:pt x="177" y="125"/>
                  </a:cubicBezTo>
                  <a:lnTo>
                    <a:pt x="203" y="121"/>
                  </a:lnTo>
                  <a:close/>
                  <a:moveTo>
                    <a:pt x="102" y="136"/>
                  </a:moveTo>
                  <a:cubicBezTo>
                    <a:pt x="83" y="136"/>
                    <a:pt x="68" y="121"/>
                    <a:pt x="68" y="102"/>
                  </a:cubicBezTo>
                  <a:cubicBezTo>
                    <a:pt x="68" y="84"/>
                    <a:pt x="83" y="69"/>
                    <a:pt x="102" y="69"/>
                  </a:cubicBezTo>
                  <a:cubicBezTo>
                    <a:pt x="120" y="69"/>
                    <a:pt x="135" y="84"/>
                    <a:pt x="135" y="102"/>
                  </a:cubicBezTo>
                  <a:cubicBezTo>
                    <a:pt x="135" y="121"/>
                    <a:pt x="120" y="136"/>
                    <a:pt x="102" y="136"/>
                  </a:cubicBez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de-DE" sz="1632" b="0" i="0" u="none" strike="noStrike" kern="1200" cap="none" spc="0" normalizeH="0" baseline="0" noProof="0">
                <a:ln>
                  <a:noFill/>
                </a:ln>
                <a:solidFill>
                  <a:srgbClr val="000000"/>
                </a:solidFill>
                <a:effectLst/>
                <a:uLnTx/>
                <a:uFillTx/>
                <a:latin typeface="Arial" charset="0"/>
                <a:ea typeface="+mn-ea"/>
                <a:cs typeface="+mn-cs"/>
              </a:endParaRPr>
            </a:p>
          </p:txBody>
        </p:sp>
        <p:sp>
          <p:nvSpPr>
            <p:cNvPr id="94" name="Freeform 72">
              <a:extLst>
                <a:ext uri="{FF2B5EF4-FFF2-40B4-BE49-F238E27FC236}">
                  <a16:creationId xmlns:a16="http://schemas.microsoft.com/office/drawing/2014/main" id="{1AF35670-43BC-C752-6FCA-E17B2260A837}"/>
                </a:ext>
              </a:extLst>
            </p:cNvPr>
            <p:cNvSpPr>
              <a:spLocks/>
            </p:cNvSpPr>
            <p:nvPr/>
          </p:nvSpPr>
          <p:spPr bwMode="auto">
            <a:xfrm>
              <a:off x="5673258" y="1061500"/>
              <a:ext cx="251042" cy="128616"/>
            </a:xfrm>
            <a:custGeom>
              <a:avLst/>
              <a:gdLst>
                <a:gd name="T0" fmla="*/ 17837 w 19529"/>
                <a:gd name="T1" fmla="*/ 367 h 10315"/>
                <a:gd name="T2" fmla="*/ 14525 w 19529"/>
                <a:gd name="T3" fmla="*/ 3687 h 10315"/>
                <a:gd name="T4" fmla="*/ 9377 w 19529"/>
                <a:gd name="T5" fmla="*/ 3687 h 10315"/>
                <a:gd name="T6" fmla="*/ 9190 w 19529"/>
                <a:gd name="T7" fmla="*/ 3499 h 10315"/>
                <a:gd name="T8" fmla="*/ 9190 w 19529"/>
                <a:gd name="T9" fmla="*/ 3311 h 10315"/>
                <a:gd name="T10" fmla="*/ 9377 w 19529"/>
                <a:gd name="T11" fmla="*/ 3123 h 10315"/>
                <a:gd name="T12" fmla="*/ 12406 w 19529"/>
                <a:gd name="T13" fmla="*/ 3123 h 10315"/>
                <a:gd name="T14" fmla="*/ 13344 w 19529"/>
                <a:gd name="T15" fmla="*/ 2183 h 10315"/>
                <a:gd name="T16" fmla="*/ 12406 w 19529"/>
                <a:gd name="T17" fmla="*/ 1243 h 10315"/>
                <a:gd name="T18" fmla="*/ 5021 w 19529"/>
                <a:gd name="T19" fmla="*/ 1243 h 10315"/>
                <a:gd name="T20" fmla="*/ 4358 w 19529"/>
                <a:gd name="T21" fmla="*/ 1518 h 10315"/>
                <a:gd name="T22" fmla="*/ 280 w 19529"/>
                <a:gd name="T23" fmla="*/ 5608 h 10315"/>
                <a:gd name="T24" fmla="*/ 5 w 19529"/>
                <a:gd name="T25" fmla="*/ 6291 h 10315"/>
                <a:gd name="T26" fmla="*/ 7 w 19529"/>
                <a:gd name="T27" fmla="*/ 9424 h 10315"/>
                <a:gd name="T28" fmla="*/ 279 w 19529"/>
                <a:gd name="T29" fmla="*/ 10040 h 10315"/>
                <a:gd name="T30" fmla="*/ 942 w 19529"/>
                <a:gd name="T31" fmla="*/ 10315 h 10315"/>
                <a:gd name="T32" fmla="*/ 1606 w 19529"/>
                <a:gd name="T33" fmla="*/ 10040 h 10315"/>
                <a:gd name="T34" fmla="*/ 5410 w 19529"/>
                <a:gd name="T35" fmla="*/ 6226 h 10315"/>
                <a:gd name="T36" fmla="*/ 14257 w 19529"/>
                <a:gd name="T37" fmla="*/ 6226 h 10315"/>
                <a:gd name="T38" fmla="*/ 14920 w 19529"/>
                <a:gd name="T39" fmla="*/ 5951 h 10315"/>
                <a:gd name="T40" fmla="*/ 19163 w 19529"/>
                <a:gd name="T41" fmla="*/ 1697 h 10315"/>
                <a:gd name="T42" fmla="*/ 19163 w 19529"/>
                <a:gd name="T43" fmla="*/ 367 h 10315"/>
                <a:gd name="T44" fmla="*/ 17837 w 19529"/>
                <a:gd name="T45" fmla="*/ 367 h 103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9529" h="10315">
                  <a:moveTo>
                    <a:pt x="17837" y="367"/>
                  </a:moveTo>
                  <a:lnTo>
                    <a:pt x="14525" y="3687"/>
                  </a:lnTo>
                  <a:lnTo>
                    <a:pt x="9377" y="3687"/>
                  </a:lnTo>
                  <a:cubicBezTo>
                    <a:pt x="9274" y="3687"/>
                    <a:pt x="9190" y="3603"/>
                    <a:pt x="9190" y="3499"/>
                  </a:cubicBezTo>
                  <a:lnTo>
                    <a:pt x="9190" y="3311"/>
                  </a:lnTo>
                  <a:cubicBezTo>
                    <a:pt x="9190" y="3207"/>
                    <a:pt x="9274" y="3123"/>
                    <a:pt x="9377" y="3123"/>
                  </a:cubicBezTo>
                  <a:lnTo>
                    <a:pt x="12406" y="3123"/>
                  </a:lnTo>
                  <a:cubicBezTo>
                    <a:pt x="12924" y="3123"/>
                    <a:pt x="13344" y="2702"/>
                    <a:pt x="13344" y="2183"/>
                  </a:cubicBezTo>
                  <a:cubicBezTo>
                    <a:pt x="13344" y="1664"/>
                    <a:pt x="12924" y="1243"/>
                    <a:pt x="12406" y="1243"/>
                  </a:cubicBezTo>
                  <a:lnTo>
                    <a:pt x="5021" y="1243"/>
                  </a:lnTo>
                  <a:cubicBezTo>
                    <a:pt x="4773" y="1243"/>
                    <a:pt x="4534" y="1342"/>
                    <a:pt x="4358" y="1518"/>
                  </a:cubicBezTo>
                  <a:lnTo>
                    <a:pt x="280" y="5608"/>
                  </a:lnTo>
                  <a:cubicBezTo>
                    <a:pt x="92" y="5796"/>
                    <a:pt x="0" y="6045"/>
                    <a:pt x="5" y="6291"/>
                  </a:cubicBezTo>
                  <a:cubicBezTo>
                    <a:pt x="9" y="6463"/>
                    <a:pt x="1" y="9296"/>
                    <a:pt x="7" y="9424"/>
                  </a:cubicBezTo>
                  <a:cubicBezTo>
                    <a:pt x="18" y="9648"/>
                    <a:pt x="109" y="9869"/>
                    <a:pt x="279" y="10040"/>
                  </a:cubicBezTo>
                  <a:cubicBezTo>
                    <a:pt x="462" y="10223"/>
                    <a:pt x="702" y="10315"/>
                    <a:pt x="942" y="10315"/>
                  </a:cubicBezTo>
                  <a:cubicBezTo>
                    <a:pt x="1182" y="10315"/>
                    <a:pt x="1422" y="10223"/>
                    <a:pt x="1606" y="10040"/>
                  </a:cubicBezTo>
                  <a:lnTo>
                    <a:pt x="5410" y="6226"/>
                  </a:lnTo>
                  <a:lnTo>
                    <a:pt x="14257" y="6226"/>
                  </a:lnTo>
                  <a:cubicBezTo>
                    <a:pt x="14506" y="6226"/>
                    <a:pt x="14744" y="6127"/>
                    <a:pt x="14920" y="5951"/>
                  </a:cubicBezTo>
                  <a:lnTo>
                    <a:pt x="19163" y="1697"/>
                  </a:lnTo>
                  <a:cubicBezTo>
                    <a:pt x="19529" y="1329"/>
                    <a:pt x="19529" y="734"/>
                    <a:pt x="19163" y="367"/>
                  </a:cubicBezTo>
                  <a:cubicBezTo>
                    <a:pt x="18797" y="0"/>
                    <a:pt x="18203" y="0"/>
                    <a:pt x="17837" y="367"/>
                  </a:cubicBezTo>
                  <a:close/>
                </a:path>
              </a:pathLst>
            </a:custGeom>
            <a:solidFill>
              <a:schemeClr val="bg1"/>
            </a:solidFill>
            <a:ln w="0">
              <a:noFill/>
              <a:prstDash val="solid"/>
              <a:round/>
              <a:headEnd/>
              <a:tailEnd/>
            </a:ln>
          </p:spPr>
          <p:txBody>
            <a:bodyPr vert="horz" wrap="square" lIns="91440" tIns="45720" rIns="91440" bIns="45720" numCol="1" anchor="t" anchorCtr="0" compatLnSpc="1">
              <a:prstTxWarp prst="textNoShape">
                <a:avLst/>
              </a:prstTxWarp>
              <a:no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1632" b="0" i="0" u="none" strike="noStrike" kern="1200" cap="none" spc="0" normalizeH="0" baseline="0" noProof="0">
                <a:ln>
                  <a:noFill/>
                </a:ln>
                <a:solidFill>
                  <a:srgbClr val="000000"/>
                </a:solidFill>
                <a:effectLst/>
                <a:uLnTx/>
                <a:uFillTx/>
                <a:latin typeface="Arial" charset="0"/>
                <a:ea typeface="+mn-ea"/>
                <a:cs typeface="+mn-cs"/>
              </a:endParaRPr>
            </a:p>
          </p:txBody>
        </p:sp>
      </p:grpSp>
      <p:sp>
        <p:nvSpPr>
          <p:cNvPr id="72" name="Title 1">
            <a:extLst>
              <a:ext uri="{FF2B5EF4-FFF2-40B4-BE49-F238E27FC236}">
                <a16:creationId xmlns:a16="http://schemas.microsoft.com/office/drawing/2014/main" id="{F1B0FD9D-EAAE-16DD-5F31-7EA21D0D5AB5}"/>
              </a:ext>
            </a:extLst>
          </p:cNvPr>
          <p:cNvSpPr>
            <a:spLocks noGrp="1"/>
          </p:cNvSpPr>
          <p:nvPr>
            <p:ph type="title"/>
          </p:nvPr>
        </p:nvSpPr>
        <p:spPr bwMode="gray">
          <a:xfrm>
            <a:off x="0" y="0"/>
            <a:ext cx="12191979" cy="1292630"/>
          </a:xfrm>
          <a:prstGeom prst="rect">
            <a:avLst/>
          </a:prstGeom>
          <a:solidFill>
            <a:srgbClr val="002576"/>
          </a:solidFill>
          <a:ln>
            <a:noFill/>
          </a:ln>
          <a:effectLst/>
        </p:spPr>
        <p:txBody>
          <a:bodyPr vert="horz" wrap="square" lIns="91440" tIns="45720" rIns="91440" bIns="45720" numCol="1" rtlCol="0" anchor="ctr" anchorCtr="0" compatLnSpc="1">
            <a:prstTxWarp prst="textNoShape">
              <a:avLst/>
            </a:prstTxWarp>
            <a:noAutofit/>
          </a:bodyPr>
          <a:lstStyle/>
          <a:p>
            <a:pPr algn="ctr" defTabSz="457200">
              <a:spcAft>
                <a:spcPts val="0"/>
              </a:spcAft>
              <a:tabLst/>
            </a:pPr>
            <a:r>
              <a:rPr lang="en-US" sz="2800" dirty="0">
                <a:solidFill>
                  <a:schemeClr val="bg1"/>
                </a:solidFill>
                <a:latin typeface="Arial Black"/>
              </a:rPr>
              <a:t>Is My Project a Good Fit for MEDC Funding?</a:t>
            </a:r>
            <a:endParaRPr lang="en-US" sz="2800" dirty="0">
              <a:solidFill>
                <a:schemeClr val="bg1"/>
              </a:solidFill>
            </a:endParaRPr>
          </a:p>
        </p:txBody>
      </p:sp>
      <p:sp>
        <p:nvSpPr>
          <p:cNvPr id="4" name="Rectangle 3" hidden="1">
            <a:extLst>
              <a:ext uri="{FF2B5EF4-FFF2-40B4-BE49-F238E27FC236}">
                <a16:creationId xmlns:a16="http://schemas.microsoft.com/office/drawing/2014/main" id="{60E9DED1-D645-4D51-E1E8-8C0412F69E56}"/>
              </a:ext>
            </a:extLst>
          </p:cNvPr>
          <p:cNvSpPr/>
          <p:nvPr>
            <p:custDataLst>
              <p:tags r:id="rId2"/>
            </p:custDataLst>
          </p:nvPr>
        </p:nvSpPr>
        <p:spPr>
          <a:xfrm>
            <a:off x="0" y="0"/>
            <a:ext cx="158750" cy="158750"/>
          </a:xfrm>
          <a:prstGeom prst="rect">
            <a:avLst/>
          </a:prstGeom>
          <a:solidFill>
            <a:schemeClr val="accent1"/>
          </a:solidFill>
          <a:ln w="9525">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mn-cs"/>
              <a:sym typeface="Arial" panose="020B0604020202020204" pitchFamily="34" charset="0"/>
            </a:endParaRPr>
          </a:p>
        </p:txBody>
      </p:sp>
      <p:sp>
        <p:nvSpPr>
          <p:cNvPr id="9" name="Rectangle 8">
            <a:extLst>
              <a:ext uri="{FF2B5EF4-FFF2-40B4-BE49-F238E27FC236}">
                <a16:creationId xmlns:a16="http://schemas.microsoft.com/office/drawing/2014/main" id="{9F08CDEA-7CD9-6178-7A1A-16F17E21867E}"/>
              </a:ext>
            </a:extLst>
          </p:cNvPr>
          <p:cNvSpPr/>
          <p:nvPr/>
        </p:nvSpPr>
        <p:spPr>
          <a:xfrm>
            <a:off x="10883" y="1291012"/>
            <a:ext cx="12192000" cy="87733"/>
          </a:xfrm>
          <a:prstGeom prst="rect">
            <a:avLst/>
          </a:prstGeom>
          <a:solidFill>
            <a:srgbClr val="9CCF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a:ea typeface="+mn-ea"/>
              <a:cs typeface="+mn-cs"/>
            </a:endParaRPr>
          </a:p>
        </p:txBody>
      </p:sp>
      <p:pic>
        <p:nvPicPr>
          <p:cNvPr id="5" name="Picture 4">
            <a:extLst>
              <a:ext uri="{FF2B5EF4-FFF2-40B4-BE49-F238E27FC236}">
                <a16:creationId xmlns:a16="http://schemas.microsoft.com/office/drawing/2014/main" id="{9A395C71-3507-B768-E0ED-0B74E3796770}"/>
              </a:ext>
            </a:extLst>
          </p:cNvPr>
          <p:cNvPicPr>
            <a:picLocks noChangeAspect="1"/>
          </p:cNvPicPr>
          <p:nvPr/>
        </p:nvPicPr>
        <p:blipFill>
          <a:blip r:embed="rId7"/>
          <a:stretch>
            <a:fillRect/>
          </a:stretch>
        </p:blipFill>
        <p:spPr>
          <a:xfrm>
            <a:off x="668230" y="1639125"/>
            <a:ext cx="10418335" cy="4657172"/>
          </a:xfrm>
          <a:prstGeom prst="rect">
            <a:avLst/>
          </a:prstGeom>
        </p:spPr>
      </p:pic>
    </p:spTree>
    <p:extLst>
      <p:ext uri="{BB962C8B-B14F-4D97-AF65-F5344CB8AC3E}">
        <p14:creationId xmlns:p14="http://schemas.microsoft.com/office/powerpoint/2010/main" val="272432726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NAME" val="MoonShape"/>
  <p:tag name="ANGLE" val="5"/>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xml><?xml version="1.0" encoding="utf-8"?>
<p:tagLst xmlns:a="http://schemas.openxmlformats.org/drawingml/2006/main" xmlns:r="http://schemas.openxmlformats.org/officeDocument/2006/relationships" xmlns:p="http://schemas.openxmlformats.org/presentationml/2006/main">
  <p:tag name="NAME" val="MoonShape"/>
  <p:tag name="ANGLE" val="4"/>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ags/tag14.xml><?xml version="1.0" encoding="utf-8"?>
<p:tagLst xmlns:a="http://schemas.openxmlformats.org/drawingml/2006/main" xmlns:r="http://schemas.openxmlformats.org/officeDocument/2006/relationships" xmlns:p="http://schemas.openxmlformats.org/presentationml/2006/main">
  <p:tag name="NAME" val="MoonShape"/>
  <p:tag name="ANGLE" val="2"/>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2"/>
</p:tagLst>
</file>

<file path=ppt/tags/tag16.xml><?xml version="1.0" encoding="utf-8"?>
<p:tagLst xmlns:a="http://schemas.openxmlformats.org/drawingml/2006/main" xmlns:r="http://schemas.openxmlformats.org/officeDocument/2006/relationships" xmlns:p="http://schemas.openxmlformats.org/presentationml/2006/main">
  <p:tag name="NAME" val="MoonShape"/>
  <p:tag name="ANGLE" val="1"/>
</p:tagLst>
</file>

<file path=ppt/tags/tag17.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Ws5_MQtB0R5onwsxXdBym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dUVaNioeQEy1srSxzx_jY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rCW8_1HuTZa4QjqyCV2Gu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V05ssilER4.zbRHGVb9bV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JD25f7__90fbcHpIuZrFc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JD25f7__90fbcHpIuZrFc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JD25f7__90fbcHpIuZrFcQ"/>
</p:tagLst>
</file>

<file path=ppt/tags/tag3.xml><?xml version="1.0" encoding="utf-8"?>
<p:tagLst xmlns:a="http://schemas.openxmlformats.org/drawingml/2006/main" xmlns:r="http://schemas.openxmlformats.org/officeDocument/2006/relationships" xmlns:p="http://schemas.openxmlformats.org/presentationml/2006/main">
  <p:tag name="NAME" val="Moon"/>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JD25f7__90fbcHpIuZrFc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JD25f7__90fbcHpIuZrFc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JD25f7__90fbcHpIuZrFc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JD25f7__90fbcHpIuZrFc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JD25f7__90fbcHpIuZrFcQ"/>
</p:tagLst>
</file>

<file path=ppt/tags/tag4.xml><?xml version="1.0" encoding="utf-8"?>
<p:tagLst xmlns:a="http://schemas.openxmlformats.org/drawingml/2006/main" xmlns:r="http://schemas.openxmlformats.org/officeDocument/2006/relationships" xmlns:p="http://schemas.openxmlformats.org/presentationml/2006/main">
  <p:tag name="NAME" val="Moon"/>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JD25f7__90fbcHpIuZrFc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JD25f7__90fbcHpIuZrFc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JD25f7__90fbcHpIuZrFc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JD25f7__90fbcHpIuZrFcQ"/>
</p:tagLst>
</file>

<file path=ppt/tags/tag5.xml><?xml version="1.0" encoding="utf-8"?>
<p:tagLst xmlns:a="http://schemas.openxmlformats.org/drawingml/2006/main" xmlns:r="http://schemas.openxmlformats.org/officeDocument/2006/relationships" xmlns:p="http://schemas.openxmlformats.org/presentationml/2006/main">
  <p:tag name="NAME" val="Moon"/>
</p:tagLst>
</file>

<file path=ppt/tags/tag6.xml><?xml version="1.0" encoding="utf-8"?>
<p:tagLst xmlns:a="http://schemas.openxmlformats.org/drawingml/2006/main" xmlns:r="http://schemas.openxmlformats.org/officeDocument/2006/relationships" xmlns:p="http://schemas.openxmlformats.org/presentationml/2006/main">
  <p:tag name="NAME" val="Moon"/>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8.xml><?xml version="1.0" encoding="utf-8"?>
<p:tagLst xmlns:a="http://schemas.openxmlformats.org/drawingml/2006/main" xmlns:r="http://schemas.openxmlformats.org/officeDocument/2006/relationships" xmlns:p="http://schemas.openxmlformats.org/presentationml/2006/main">
  <p:tag name="NAME" val="MoonShape"/>
  <p:tag name="ANGLE" val="3"/>
</p:tagLst>
</file>

<file path=ppt/tags/tag9.xml><?xml version="1.0" encoding="utf-8"?>
<p:tagLst xmlns:a="http://schemas.openxmlformats.org/drawingml/2006/main" xmlns:r="http://schemas.openxmlformats.org/officeDocument/2006/relationships" xmlns:p="http://schemas.openxmlformats.org/presentationml/2006/main">
  <p:tag name="NAME" val="MoonHalfShape"/>
  <p:tag name="ANGLE" val="4"/>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2.xml><?xml version="1.0" encoding="utf-8"?>
<a:theme xmlns:a="http://schemas.openxmlformats.org/drawingml/2006/main" name="3_Office Theme">
  <a:themeElements>
    <a:clrScheme name="Custom 4">
      <a:dk1>
        <a:srgbClr val="000000"/>
      </a:dk1>
      <a:lt1>
        <a:srgbClr val="FFFFFF"/>
      </a:lt1>
      <a:dk2>
        <a:srgbClr val="001D59"/>
      </a:dk2>
      <a:lt2>
        <a:srgbClr val="FFFFFF"/>
      </a:lt2>
      <a:accent1>
        <a:srgbClr val="9CCFEC"/>
      </a:accent1>
      <a:accent2>
        <a:srgbClr val="2487BE"/>
      </a:accent2>
      <a:accent3>
        <a:srgbClr val="144F94"/>
      </a:accent3>
      <a:accent4>
        <a:srgbClr val="0AA67D"/>
      </a:accent4>
      <a:accent5>
        <a:srgbClr val="EBA520"/>
      </a:accent5>
      <a:accent6>
        <a:srgbClr val="808080"/>
      </a:accent6>
      <a:hlink>
        <a:srgbClr val="144F94"/>
      </a:hlink>
      <a:folHlink>
        <a:srgbClr val="001D59"/>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2_6727LQ_CF">
  <a:themeElements>
    <a:clrScheme name="MEDC">
      <a:dk1>
        <a:srgbClr val="001762"/>
      </a:dk1>
      <a:lt1>
        <a:srgbClr val="FFFFFF"/>
      </a:lt1>
      <a:dk2>
        <a:srgbClr val="19204D"/>
      </a:dk2>
      <a:lt2>
        <a:srgbClr val="FFFFFF"/>
      </a:lt2>
      <a:accent1>
        <a:srgbClr val="7BBDE1"/>
      </a:accent1>
      <a:accent2>
        <a:srgbClr val="0089D8"/>
      </a:accent2>
      <a:accent3>
        <a:srgbClr val="00588B"/>
      </a:accent3>
      <a:accent4>
        <a:srgbClr val="0AA67D"/>
      </a:accent4>
      <a:accent5>
        <a:srgbClr val="EBA521"/>
      </a:accent5>
      <a:accent6>
        <a:srgbClr val="EF3B45"/>
      </a:accent6>
      <a:hlink>
        <a:srgbClr val="00588B"/>
      </a:hlink>
      <a:folHlink>
        <a:srgbClr val="002576"/>
      </a:folHlink>
    </a:clrScheme>
    <a:fontScheme name="Custom">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6"/>
          </a:solidFill>
        </a:ln>
      </a:spPr>
      <a:bodyPr rtlCol="0" anchor="ctr"/>
      <a:lstStyle>
        <a:defPPr algn="ctr">
          <a:defRPr sz="160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Custom">
        <a:dk1>
          <a:srgbClr val="000000"/>
        </a:dk1>
        <a:lt1>
          <a:srgbClr val="FFFFFF"/>
        </a:lt1>
        <a:dk2>
          <a:srgbClr val="001D59"/>
        </a:dk2>
        <a:lt2>
          <a:srgbClr val="FFFFFF"/>
        </a:lt2>
        <a:accent1>
          <a:srgbClr val="9CCFEC"/>
        </a:accent1>
        <a:accent2>
          <a:srgbClr val="2487BE"/>
        </a:accent2>
        <a:accent3>
          <a:srgbClr val="144F94"/>
        </a:accent3>
        <a:accent4>
          <a:srgbClr val="001D59"/>
        </a:accent4>
        <a:accent5>
          <a:srgbClr val="ED7D31"/>
        </a:accent5>
        <a:accent6>
          <a:srgbClr val="808080"/>
        </a:accent6>
        <a:hlink>
          <a:srgbClr val="144F94"/>
        </a:hlink>
        <a:folHlink>
          <a:srgbClr val="001D59"/>
        </a:folHlink>
      </a:clrScheme>
      <a:clrMap bg1="lt1" tx1="dk1" bg2="lt2" tx2="dk2" accent1="accent1" accent2="accent2" accent3="accent3" accent4="accent4" accent5="accent5" accent6="accent6" hlink="hlink" folHlink="folHlink"/>
    </a:extraClrScheme>
  </a:extraClrSchemeLst>
  <a:custClrLst/>
  <a:extLst>
    <a:ext uri="{05A4C25C-085E-4340-85A3-A5531E510DB2}">
      <thm15:themeFamily xmlns:thm15="http://schemas.microsoft.com/office/thememl/2012/main" name="6727LQ_CF.potx" id="{6F7FD389-F1C4-4563-8B39-EA654CF160CB}" vid="{5CD92E82-E78F-40BA-98D9-068AFE9F2AAF}"/>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docProps/app.xml><?xml version="1.0" encoding="utf-8"?>
<Properties xmlns="http://schemas.openxmlformats.org/officeDocument/2006/extended-properties" xmlns:vt="http://schemas.openxmlformats.org/officeDocument/2006/docPropsVTypes">
  <TotalTime>221</TotalTime>
  <Words>1092</Words>
  <Application>Microsoft Office PowerPoint</Application>
  <PresentationFormat>Widescreen</PresentationFormat>
  <Paragraphs>130</Paragraphs>
  <Slides>19</Slides>
  <Notes>17</Notes>
  <HiddenSlides>0</HiddenSlides>
  <MMClips>0</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19</vt:i4>
      </vt:variant>
    </vt:vector>
  </HeadingPairs>
  <TitlesOfParts>
    <vt:vector size="33" baseType="lpstr">
      <vt:lpstr>-apple-system</vt:lpstr>
      <vt:lpstr>Aptos</vt:lpstr>
      <vt:lpstr>Aptos </vt:lpstr>
      <vt:lpstr>Aptos Black</vt:lpstr>
      <vt:lpstr>Aptos Display</vt:lpstr>
      <vt:lpstr>Aptos Narrow</vt:lpstr>
      <vt:lpstr>Arial</vt:lpstr>
      <vt:lpstr>Arial Black</vt:lpstr>
      <vt:lpstr>Avenir Next LT Pro</vt:lpstr>
      <vt:lpstr>Calibri</vt:lpstr>
      <vt:lpstr>Office Theme</vt:lpstr>
      <vt:lpstr>3_Office Theme</vt:lpstr>
      <vt:lpstr>2_6727LQ_CF</vt:lpstr>
      <vt:lpstr>think-cell Slide</vt:lpstr>
      <vt:lpstr>PowerPoint Presentation</vt:lpstr>
      <vt:lpstr>PowerPoint Presentation</vt:lpstr>
      <vt:lpstr>PowerPoint Presentation</vt:lpstr>
      <vt:lpstr>PowerPoint Presentation</vt:lpstr>
      <vt:lpstr>MEDC Real Estate Development Tools</vt:lpstr>
      <vt:lpstr>MEDC Real Estate Development Tools</vt:lpstr>
      <vt:lpstr>MEDC Real Estate Development Tools</vt:lpstr>
      <vt:lpstr>MEDC Real Estate Development Tools</vt:lpstr>
      <vt:lpstr>Is My Project a Good Fit for MEDC Funding?</vt:lpstr>
      <vt:lpstr>Is My Project a Good Fit for MEDC Funding?</vt:lpstr>
      <vt:lpstr>MEDC Application Process</vt:lpstr>
      <vt:lpstr>9350 Joseph Campau Avenue, Hamtramck</vt:lpstr>
      <vt:lpstr>206 Days Avenue, Buchanan</vt:lpstr>
      <vt:lpstr>112 Eagle Street, Marshall</vt:lpstr>
      <vt:lpstr>108 West Chicago Street, Sturgis</vt:lpstr>
      <vt:lpstr>PowerPoint Presentation</vt:lpstr>
      <vt:lpstr>Local Real Estate Development Tools</vt:lpstr>
      <vt:lpstr>MEDC Capital Access Tools for Small Businesses</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Sarah Snoeyink (MEDC)</dc:creator>
  <cp:lastModifiedBy>Sarah Snoeyink (MEDC)</cp:lastModifiedBy>
  <cp:revision>1</cp:revision>
  <dcterms:created xsi:type="dcterms:W3CDTF">2024-06-25T16:49:12Z</dcterms:created>
  <dcterms:modified xsi:type="dcterms:W3CDTF">2025-04-03T00:36:26Z</dcterms:modified>
</cp:coreProperties>
</file>